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72" r:id="rId2"/>
  </p:sldMasterIdLst>
  <p:notesMasterIdLst>
    <p:notesMasterId r:id="rId14"/>
  </p:notesMasterIdLst>
  <p:sldIdLst>
    <p:sldId id="260" r:id="rId3"/>
    <p:sldId id="283" r:id="rId4"/>
    <p:sldId id="256" r:id="rId5"/>
    <p:sldId id="280" r:id="rId6"/>
    <p:sldId id="285" r:id="rId7"/>
    <p:sldId id="286" r:id="rId8"/>
    <p:sldId id="287" r:id="rId9"/>
    <p:sldId id="288" r:id="rId10"/>
    <p:sldId id="289" r:id="rId11"/>
    <p:sldId id="281" r:id="rId12"/>
    <p:sldId id="263" r:id="rId13"/>
  </p:sldIdLst>
  <p:sldSz cx="9144000" cy="6858000" type="screen4x3"/>
  <p:notesSz cx="6881813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FABAB"/>
    <a:srgbClr val="FF3300"/>
    <a:srgbClr val="FF9933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81" autoAdjust="0"/>
    <p:restoredTop sz="94660"/>
  </p:normalViewPr>
  <p:slideViewPr>
    <p:cSldViewPr snapToGrid="0">
      <p:cViewPr varScale="1">
        <p:scale>
          <a:sx n="92" d="100"/>
          <a:sy n="92" d="100"/>
        </p:scale>
        <p:origin x="123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834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CFF0B00B-3AA2-4FF0-AEA9-CDE5ACC14AD5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50963" y="1162050"/>
            <a:ext cx="4179887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73892"/>
            <a:ext cx="5505450" cy="3660458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0CA24000-5283-477F-A43E-FBA1C1CFD4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1236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A24000-5283-477F-A43E-FBA1C1CFD4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1385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A24000-5283-477F-A43E-FBA1C1CFD4C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7886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A24000-5283-477F-A43E-FBA1C1CFD4C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219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7555B6-EBB0-B84E-B1B6-1023E1EE624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26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7555B6-EBB0-B84E-B1B6-1023E1EE624D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1673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7555B6-EBB0-B84E-B1B6-1023E1EE624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47316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2.png"/><Relationship Id="rId4" Type="http://schemas.openxmlformats.org/officeDocument/2006/relationships/tags" Target="../tags/tag3.xml"/><Relationship Id="rId9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0FF43-0E6B-4034-932E-A72B32C767DC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CCDEF-F1AA-466C-A369-BA077DB4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4718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0FF43-0E6B-4034-932E-A72B32C767DC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CCDEF-F1AA-466C-A369-BA077DB4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2164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0FF43-0E6B-4034-932E-A72B32C767DC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CCDEF-F1AA-466C-A369-BA077DB4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7299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09077" y="6561569"/>
            <a:ext cx="199240" cy="171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</a:defRPr>
            </a:lvl1pPr>
          </a:lstStyle>
          <a:p>
            <a:pPr defTabSz="913044" fontAlgn="base">
              <a:spcBef>
                <a:spcPct val="0"/>
              </a:spcBef>
              <a:spcAft>
                <a:spcPct val="0"/>
              </a:spcAft>
            </a:pPr>
            <a:fld id="{E2CE5E13-D751-4243-9984-9CC0463F8B1E}" type="slidenum">
              <a:rPr lang="en-US" smtClean="0">
                <a:ea typeface="ＭＳ Ｐゴシック" charset="0"/>
                <a:cs typeface="ＭＳ Ｐゴシック" charset="0"/>
              </a:rPr>
              <a:pPr defTabSz="91304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56333" y="6507994"/>
            <a:ext cx="3289186" cy="350006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re-decisional for NASA use only  |  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548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134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2238620" y="6428783"/>
            <a:ext cx="6905380" cy="429232"/>
          </a:xfrm>
          <a:prstGeom prst="rect">
            <a:avLst/>
          </a:prstGeom>
          <a:solidFill>
            <a:srgbClr val="002960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306" tIns="45653" rIns="91306" bIns="45653" anchor="ctr"/>
          <a:lstStyle/>
          <a:p>
            <a:pPr defTabSz="91304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00" dirty="0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graphicFrame>
        <p:nvGraphicFramePr>
          <p:cNvPr id="4" name="Rectangle 1227" hidden="1"/>
          <p:cNvGraphicFramePr>
            <a:graphicFrameLocks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ffectLst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="" xmlns:a14="http://schemas.microsoft.com/office/drawing/2010/main">
                            <a:effectLst>
                              <a:outerShdw dist="35921" dir="2700000" algn="ctr" rotWithShape="0">
                                <a:srgbClr val="80808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913044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grpSp>
        <p:nvGrpSpPr>
          <p:cNvPr id="6" name="McK Title Elements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15" y="15"/>
            <a:ext cx="9140760" cy="6859620"/>
            <a:chOff x="0" y="0"/>
            <a:chExt cx="5643" cy="4235"/>
          </a:xfrm>
        </p:grpSpPr>
        <p:sp>
          <p:nvSpPr>
            <p:cNvPr id="7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91304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ea typeface="ＭＳ Ｐゴシック" charset="0"/>
                  <a:cs typeface="ＭＳ Ｐゴシック" charset="0"/>
                </a:rPr>
                <a:t>Document type</a:t>
              </a:r>
            </a:p>
          </p:txBody>
        </p:sp>
        <p:sp>
          <p:nvSpPr>
            <p:cNvPr id="8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304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ea typeface="ＭＳ Ｐゴシック" charset="0"/>
                  <a:cs typeface="ＭＳ Ｐゴシック" charset="0"/>
                </a:rPr>
                <a:t>Date</a:t>
              </a:r>
            </a:p>
          </p:txBody>
        </p:sp>
        <p:sp>
          <p:nvSpPr>
            <p:cNvPr id="9" name="Rectangle 1064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199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ea typeface="ＭＳ Ｐゴシック" charset="0"/>
                  <a:cs typeface="ＭＳ Ｐゴシック" charset="0"/>
                </a:rPr>
                <a:t>CONFIDENTIAL AND PROPRIETARY</a:t>
              </a:r>
            </a:p>
            <a:p>
              <a:pPr defTabSz="81998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 dirty="0">
                  <a:solidFill>
                    <a:srgbClr val="000000"/>
                  </a:solidFill>
                  <a:ea typeface="ＭＳ Ｐゴシック" charset="0"/>
                  <a:cs typeface="ＭＳ Ｐゴシック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0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1304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 dirty="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1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1304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 dirty="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2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1304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000" dirty="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74" y="6574560"/>
            <a:ext cx="1670055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229" descr="NASA_Logo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4305" y="3142305"/>
            <a:ext cx="2134950" cy="1820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52"/>
            <a:ext cx="5036084" cy="965353"/>
          </a:xfrm>
        </p:spPr>
        <p:txBody>
          <a:bodyPr/>
          <a:lstStyle>
            <a:lvl1pPr>
              <a:defRPr sz="3300" b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810" y="3945699"/>
            <a:ext cx="3806625" cy="246221"/>
          </a:xfrm>
        </p:spPr>
        <p:txBody>
          <a:bodyPr>
            <a:spAutoFit/>
          </a:bodyPr>
          <a:lstStyle>
            <a:lvl1pPr>
              <a:defRPr sz="1600"/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TitleBottomPlaceholder"/>
          <p:cNvSpPr>
            <a:spLocks noChangeArrowheads="1"/>
          </p:cNvSpPr>
          <p:nvPr userDrawn="1"/>
        </p:nvSpPr>
        <p:spPr bwMode="auto">
          <a:xfrm>
            <a:off x="0" y="2276525"/>
            <a:ext cx="2238620" cy="4581480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</p:spPr>
        <p:txBody>
          <a:bodyPr wrap="none" lIns="93256" tIns="46628" rIns="93256" bIns="46628" anchor="ctr">
            <a:prstTxWarp prst="textNoShape">
              <a:avLst/>
            </a:prstTxWarp>
          </a:bodyPr>
          <a:lstStyle/>
          <a:p>
            <a:pPr defTabSz="932665"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20" name="TitleTopPlaceholder"/>
          <p:cNvSpPr>
            <a:spLocks noChangeArrowheads="1"/>
          </p:cNvSpPr>
          <p:nvPr userDrawn="1"/>
        </p:nvSpPr>
        <p:spPr bwMode="auto">
          <a:xfrm>
            <a:off x="0" y="5"/>
            <a:ext cx="2238620" cy="2283840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</p:spPr>
        <p:txBody>
          <a:bodyPr wrap="none" lIns="93256" tIns="46628" rIns="93256" bIns="46628" anchor="ctr">
            <a:prstTxWarp prst="textNoShape">
              <a:avLst/>
            </a:prstTxWarp>
          </a:bodyPr>
          <a:lstStyle/>
          <a:p>
            <a:pPr defTabSz="932665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180277" y="6498106"/>
            <a:ext cx="2895600" cy="292692"/>
          </a:xfrm>
          <a:prstGeom prst="rect">
            <a:avLst/>
          </a:prstGeom>
        </p:spPr>
        <p:txBody>
          <a:bodyPr/>
          <a:lstStyle>
            <a:lvl1pPr algn="r">
              <a:defRPr sz="1400" b="1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Pre-decisional for NASA use only  |  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62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604154" y="917417"/>
            <a:ext cx="8115448" cy="5288801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09077" y="6561569"/>
            <a:ext cx="199240" cy="171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</a:defRPr>
            </a:lvl1pPr>
          </a:lstStyle>
          <a:p>
            <a:pPr defTabSz="913044" fontAlgn="base">
              <a:spcBef>
                <a:spcPct val="0"/>
              </a:spcBef>
              <a:spcAft>
                <a:spcPct val="0"/>
              </a:spcAft>
            </a:pPr>
            <a:fld id="{E2CE5E13-D751-4243-9984-9CC0463F8B1E}" type="slidenum">
              <a:rPr lang="en-US" smtClean="0">
                <a:ea typeface="ＭＳ Ｐゴシック" charset="0"/>
                <a:cs typeface="ＭＳ Ｐゴシック" charset="0"/>
              </a:rPr>
              <a:pPr defTabSz="91304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56333" y="6507994"/>
            <a:ext cx="3289186" cy="350006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re-decisional for NASA use only  |  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466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63" y="4407334"/>
            <a:ext cx="7771995" cy="1261884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63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5781" indent="0">
              <a:buNone/>
              <a:defRPr sz="1800"/>
            </a:lvl2pPr>
            <a:lvl3pPr marL="931581" indent="0">
              <a:buNone/>
              <a:defRPr sz="1600"/>
            </a:lvl3pPr>
            <a:lvl4pPr marL="1397371" indent="0">
              <a:buNone/>
              <a:defRPr sz="1400"/>
            </a:lvl4pPr>
            <a:lvl5pPr marL="1863155" indent="0">
              <a:buNone/>
              <a:defRPr sz="1400"/>
            </a:lvl5pPr>
            <a:lvl6pPr marL="2328947" indent="0">
              <a:buNone/>
              <a:defRPr sz="1400"/>
            </a:lvl6pPr>
            <a:lvl7pPr marL="2794735" indent="0">
              <a:buNone/>
              <a:defRPr sz="1400"/>
            </a:lvl7pPr>
            <a:lvl8pPr marL="3260525" indent="0">
              <a:buNone/>
              <a:defRPr sz="1400"/>
            </a:lvl8pPr>
            <a:lvl9pPr marL="3726315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09077" y="6561569"/>
            <a:ext cx="199240" cy="171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</a:defRPr>
            </a:lvl1pPr>
          </a:lstStyle>
          <a:p>
            <a:pPr defTabSz="913044" fontAlgn="base">
              <a:spcBef>
                <a:spcPct val="0"/>
              </a:spcBef>
              <a:spcAft>
                <a:spcPct val="0"/>
              </a:spcAft>
            </a:pPr>
            <a:fld id="{E2CE5E13-D751-4243-9984-9CC0463F8B1E}" type="slidenum">
              <a:rPr lang="en-US" smtClean="0">
                <a:ea typeface="ＭＳ Ｐゴシック" charset="0"/>
                <a:cs typeface="ＭＳ Ｐゴシック" charset="0"/>
              </a:rPr>
              <a:pPr defTabSz="91304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56333" y="6507994"/>
            <a:ext cx="3289186" cy="350006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re-decisional for NASA use only  |  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07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09077" y="6561569"/>
            <a:ext cx="199240" cy="171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</a:defRPr>
            </a:lvl1pPr>
          </a:lstStyle>
          <a:p>
            <a:pPr defTabSz="913044" fontAlgn="base">
              <a:spcBef>
                <a:spcPct val="0"/>
              </a:spcBef>
              <a:spcAft>
                <a:spcPct val="0"/>
              </a:spcAft>
            </a:pPr>
            <a:fld id="{E2CE5E13-D751-4243-9984-9CC0463F8B1E}" type="slidenum">
              <a:rPr lang="en-US" smtClean="0">
                <a:ea typeface="ＭＳ Ｐゴシック" charset="0"/>
                <a:cs typeface="ＭＳ Ｐゴシック" charset="0"/>
              </a:rPr>
              <a:pPr defTabSz="91304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56333" y="6507994"/>
            <a:ext cx="3289186" cy="350006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re-decisional for NASA use only  |  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9592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09077" y="6561569"/>
            <a:ext cx="199240" cy="171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</a:defRPr>
            </a:lvl1pPr>
          </a:lstStyle>
          <a:p>
            <a:pPr defTabSz="913044" fontAlgn="base">
              <a:spcBef>
                <a:spcPct val="0"/>
              </a:spcBef>
              <a:spcAft>
                <a:spcPct val="0"/>
              </a:spcAft>
            </a:pPr>
            <a:fld id="{E2CE5E13-D751-4243-9984-9CC0463F8B1E}" type="slidenum">
              <a:rPr lang="en-US" smtClean="0">
                <a:ea typeface="ＭＳ Ｐゴシック" charset="0"/>
                <a:cs typeface="ＭＳ Ｐゴシック" charset="0"/>
              </a:rPr>
              <a:pPr defTabSz="91304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56333" y="6507994"/>
            <a:ext cx="3289186" cy="350006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Pre-decisional for NASA use only  |  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8864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0FF43-0E6B-4034-932E-A72B32C767DC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CCDEF-F1AA-466C-A369-BA077DB4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3285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0FF43-0E6B-4034-932E-A72B32C767DC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CCDEF-F1AA-466C-A369-BA077DB4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053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0FF43-0E6B-4034-932E-A72B32C767DC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CCDEF-F1AA-466C-A369-BA077DB4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4991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0FF43-0E6B-4034-932E-A72B32C767DC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CCDEF-F1AA-466C-A369-BA077DB4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2263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0FF43-0E6B-4034-932E-A72B32C767DC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CCDEF-F1AA-466C-A369-BA077DB4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6963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0FF43-0E6B-4034-932E-A72B32C767DC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CCDEF-F1AA-466C-A369-BA077DB4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35091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0FF43-0E6B-4034-932E-A72B32C767DC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CCDEF-F1AA-466C-A369-BA077DB4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33467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0FF43-0E6B-4034-932E-A72B32C767DC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8CCDEF-F1AA-466C-A369-BA077DB4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70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00FF43-0E6B-4034-932E-A72B32C767DC}" type="datetimeFigureOut">
              <a:rPr lang="en-US" smtClean="0"/>
              <a:t>5/24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8CCDEF-F1AA-466C-A369-BA077DB447F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9135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" name="SlideBottomBar"/>
          <p:cNvSpPr>
            <a:spLocks noChangeArrowheads="1"/>
          </p:cNvSpPr>
          <p:nvPr/>
        </p:nvSpPr>
        <p:spPr bwMode="auto">
          <a:xfrm>
            <a:off x="0" y="6435871"/>
            <a:ext cx="9144000" cy="430852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156" tIns="46579" rIns="93156" bIns="46579" anchor="ctr"/>
          <a:lstStyle/>
          <a:p>
            <a:pPr algn="ctr" defTabSz="91304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dirty="0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504" y="234878"/>
            <a:ext cx="8794113" cy="298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1488" y="27537"/>
            <a:ext cx="876714" cy="219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130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ea typeface="ＭＳ Ｐゴシック" charset="0"/>
                <a:cs typeface="ＭＳ Ｐゴシック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12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  <a:ea typeface="ＭＳ Ｐゴシック" charset="0"/>
                <a:cs typeface="ＭＳ Ｐゴシック" charset="0"/>
              </a:rPr>
              <a:t>Unit of measure</a:t>
            </a:r>
          </a:p>
        </p:txBody>
      </p:sp>
      <p:grpSp>
        <p:nvGrpSpPr>
          <p:cNvPr id="1031" name="McK Slide Elements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151" name="Text Box 127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743" indent="-106743" defTabSz="9121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ea typeface="ＭＳ Ｐゴシック" charset="0"/>
                  <a:cs typeface="ＭＳ Ｐゴシック" charset="0"/>
                </a:rPr>
                <a:t>1 Footnote</a:t>
              </a:r>
            </a:p>
          </p:txBody>
        </p:sp>
        <p:sp>
          <p:nvSpPr>
            <p:cNvPr id="1154" name="Rectangle 130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053" indent="-621053" defTabSz="912170" fontAlgn="base">
                <a:spcBef>
                  <a:spcPct val="0"/>
                </a:spcBef>
                <a:spcAft>
                  <a:spcPct val="0"/>
                </a:spcAft>
                <a:tabLst>
                  <a:tab pos="624286" algn="l"/>
                </a:tabLst>
                <a:defRPr/>
              </a:pPr>
              <a:r>
                <a:rPr lang="en-US" sz="1000" dirty="0">
                  <a:solidFill>
                    <a:srgbClr val="000000"/>
                  </a:solidFill>
                  <a:ea typeface="ＭＳ Ｐゴシック" charset="0"/>
                  <a:cs typeface="ＭＳ Ｐゴシック" charset="0"/>
                </a:rPr>
                <a:t>SOURCE: Source</a:t>
              </a:r>
            </a:p>
          </p:txBody>
        </p:sp>
      </p:grpSp>
      <p:grpSp>
        <p:nvGrpSpPr>
          <p:cNvPr id="2" name="ACET" hidden="1"/>
          <p:cNvGrpSpPr>
            <a:grpSpLocks/>
          </p:cNvGrpSpPr>
          <p:nvPr/>
        </p:nvGrpSpPr>
        <p:grpSpPr bwMode="auto">
          <a:xfrm>
            <a:off x="1482165" y="1150019"/>
            <a:ext cx="4350892" cy="518318"/>
            <a:chOff x="915" y="710"/>
            <a:chExt cx="2686" cy="320"/>
          </a:xfrm>
        </p:grpSpPr>
        <p:cxnSp>
          <p:nvCxnSpPr>
            <p:cNvPr id="1040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defTabSz="91304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 dirty="0">
                  <a:solidFill>
                    <a:srgbClr val="000000"/>
                  </a:solidFill>
                  <a:ea typeface="ＭＳ Ｐゴシック" charset="0"/>
                  <a:cs typeface="ＭＳ Ｐゴシック" charset="0"/>
                </a:rPr>
                <a:t>Title</a:t>
              </a:r>
            </a:p>
            <a:p>
              <a:pPr defTabSz="91304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  <a:ea typeface="ＭＳ Ｐゴシック" charset="0"/>
                  <a:cs typeface="ＭＳ Ｐゴシック" charset="0"/>
                </a:rPr>
                <a:t>Unit of measure</a:t>
              </a:r>
            </a:p>
          </p:txBody>
        </p:sp>
      </p:grpSp>
      <p:sp>
        <p:nvSpPr>
          <p:cNvPr id="1306" name="doc id"/>
          <p:cNvSpPr>
            <a:spLocks noChangeArrowheads="1"/>
          </p:cNvSpPr>
          <p:nvPr/>
        </p:nvSpPr>
        <p:spPr bwMode="auto">
          <a:xfrm>
            <a:off x="8246616" y="37255"/>
            <a:ext cx="670614" cy="124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912170" fontAlgn="base">
              <a:spcBef>
                <a:spcPct val="0"/>
              </a:spcBef>
              <a:spcAft>
                <a:spcPct val="0"/>
              </a:spcAft>
              <a:defRPr/>
            </a:pPr>
            <a:endParaRPr lang="cs-CZ" sz="800" dirty="0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03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1826" y="940426"/>
            <a:ext cx="8127776" cy="5125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</a:p>
          <a:p>
            <a:pPr lvl="5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Footer Placeholder 5"/>
          <p:cNvSpPr txBox="1">
            <a:spLocks/>
          </p:cNvSpPr>
          <p:nvPr userDrawn="1"/>
        </p:nvSpPr>
        <p:spPr>
          <a:xfrm>
            <a:off x="121504" y="6491334"/>
            <a:ext cx="2895600" cy="292692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 smtClean="0">
                <a:solidFill>
                  <a:srgbClr val="000000"/>
                </a:solidFill>
              </a:rPr>
              <a:t>MSC-2014-09-002b</a:t>
            </a:r>
            <a:endParaRPr lang="en-US" sz="1400" dirty="0">
              <a:solidFill>
                <a:srgbClr val="002960"/>
              </a:solidFill>
            </a:endParaRPr>
          </a:p>
        </p:txBody>
      </p:sp>
      <p:sp>
        <p:nvSpPr>
          <p:cNvPr id="20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09077" y="6561569"/>
            <a:ext cx="199240" cy="171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000000"/>
                </a:solidFill>
              </a:defRPr>
            </a:lvl1pPr>
          </a:lstStyle>
          <a:p>
            <a:pPr defTabSz="913044" fontAlgn="base">
              <a:spcBef>
                <a:spcPct val="0"/>
              </a:spcBef>
              <a:spcAft>
                <a:spcPct val="0"/>
              </a:spcAft>
            </a:pPr>
            <a:fld id="{E2CE5E13-D751-4243-9984-9CC0463F8B1E}" type="slidenum">
              <a:rPr lang="en-US" smtClean="0">
                <a:ea typeface="ＭＳ Ｐゴシック" charset="0"/>
                <a:cs typeface="ＭＳ Ｐゴシック" charset="0"/>
              </a:rPr>
              <a:pPr defTabSz="91304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dirty="0" smtClean="0">
                <a:ea typeface="ＭＳ Ｐゴシック" charset="0"/>
                <a:cs typeface="ＭＳ Ｐゴシック" charset="0"/>
              </a:rPr>
              <a:t> </a:t>
            </a:r>
            <a:endParaRPr lang="en-US" dirty="0">
              <a:ea typeface="ＭＳ Ｐゴシック" charset="0"/>
              <a:cs typeface="ＭＳ Ｐゴシック" charset="0"/>
            </a:endParaRPr>
          </a:p>
        </p:txBody>
      </p:sp>
      <p:sp>
        <p:nvSpPr>
          <p:cNvPr id="2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56333" y="6507994"/>
            <a:ext cx="3289186" cy="350006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pPr defTabSz="457200"/>
            <a:r>
              <a:rPr lang="en-US" smtClean="0">
                <a:solidFill>
                  <a:srgbClr val="000000"/>
                </a:solidFill>
              </a:rPr>
              <a:t>Pre-decisional for NASA use only  |  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385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217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ＭＳ Ｐゴシック" charset="0"/>
          <a:cs typeface="ＭＳ Ｐゴシック" charset="0"/>
        </a:defRPr>
      </a:lvl1pPr>
      <a:lvl2pPr algn="l" defTabSz="91217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2pPr>
      <a:lvl3pPr algn="l" defTabSz="91217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3pPr>
      <a:lvl4pPr algn="l" defTabSz="91217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4pPr>
      <a:lvl5pPr algn="l" defTabSz="91217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  <a:cs typeface="ＭＳ Ｐゴシック" charset="0"/>
        </a:defRPr>
      </a:lvl5pPr>
      <a:lvl6pPr marL="465781" algn="l" defTabSz="91217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1581" algn="l" defTabSz="91217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7371" algn="l" defTabSz="91217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3155" algn="l" defTabSz="91217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234950" indent="-234950" algn="l" defTabSz="912170" rtl="0" eaLnBrk="0" fontAlgn="base" hangingPunct="0">
        <a:spcBef>
          <a:spcPct val="0"/>
        </a:spcBef>
        <a:spcAft>
          <a:spcPts val="300"/>
        </a:spcAft>
        <a:buClr>
          <a:schemeClr val="tx2"/>
        </a:buClr>
        <a:buFont typeface="Wingdings" charset="2"/>
        <a:buChar char="§"/>
        <a:defRPr sz="18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197314" indent="-195698" algn="l" defTabSz="91217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ＭＳ Ｐゴシック" charset="-128"/>
        </a:defRPr>
      </a:lvl2pPr>
      <a:lvl3pPr marL="517525" indent="-282575" algn="l" defTabSz="91217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>
          <a:solidFill>
            <a:schemeClr val="tx1"/>
          </a:solidFill>
          <a:latin typeface="+mn-lt"/>
          <a:ea typeface="ＭＳ Ｐゴシック" charset="-128"/>
        </a:defRPr>
      </a:lvl3pPr>
      <a:lvl4pPr marL="690563" indent="-173038" algn="l" defTabSz="91217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>
          <a:solidFill>
            <a:schemeClr val="tx1"/>
          </a:solidFill>
          <a:latin typeface="+mn-lt"/>
          <a:ea typeface="ＭＳ Ｐゴシック" charset="-128"/>
        </a:defRPr>
      </a:lvl4pPr>
      <a:lvl5pPr marL="801688" indent="-174625" algn="l" defTabSz="91217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ＭＳ Ｐゴシック" charset="-128"/>
        </a:defRPr>
      </a:lvl5pPr>
      <a:lvl6pPr marL="1225932" indent="-132620" algn="l" defTabSz="91217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n-lt"/>
        </a:defRPr>
      </a:lvl6pPr>
      <a:lvl7pPr marL="1691722" indent="-132620" algn="l" defTabSz="91217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57511" indent="-132620" algn="l" defTabSz="91217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623300" indent="-132620" algn="l" defTabSz="91217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57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158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7371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315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28947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473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052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6315" algn="l" defTabSz="9315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hyperlink" Target="https://opendrive.gsfc.nasa.gov/shortauth/p/TRqcRABa" TargetMode="Externa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4305300"/>
            <a:ext cx="9144000" cy="2551279"/>
          </a:xfrm>
          <a:prstGeom prst="rect">
            <a:avLst/>
          </a:prstGeom>
          <a:solidFill>
            <a:schemeClr val="bg2">
              <a:lumMod val="75000"/>
              <a:alpha val="40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9144000" cy="4303879"/>
          </a:xfrm>
        </p:spPr>
        <p:txBody>
          <a:bodyPr anchor="ctr">
            <a:normAutofit/>
          </a:bodyPr>
          <a:lstStyle/>
          <a:p>
            <a:r>
              <a:rPr lang="en-US" sz="40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</a:rPr>
              <a:t>Procurement </a:t>
            </a:r>
            <a:br>
              <a:rPr lang="en-US" sz="40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</a:rPr>
            </a:br>
            <a:r>
              <a:rPr lang="en-US" sz="40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</a:rPr>
              <a:t>Business Services Assessment (BSA)</a:t>
            </a:r>
            <a:br>
              <a:rPr lang="en-US" sz="40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</a:rPr>
            </a:br>
            <a:r>
              <a:rPr lang="en-US" sz="54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</a:rPr>
              <a:t/>
            </a:r>
            <a:br>
              <a:rPr lang="en-US" sz="54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</a:rPr>
            </a:br>
            <a:r>
              <a:rPr lang="en-US" sz="3200" dirty="0" smtClean="0">
                <a:latin typeface="Calibri Light" panose="020F0302020204030204" pitchFamily="34" charset="0"/>
              </a:rPr>
              <a:t>Decision 7 </a:t>
            </a:r>
            <a:br>
              <a:rPr lang="en-US" sz="3200" dirty="0" smtClean="0">
                <a:latin typeface="Calibri Light" panose="020F0302020204030204" pitchFamily="34" charset="0"/>
              </a:rPr>
            </a:br>
            <a:r>
              <a:rPr lang="en-US" sz="3200" dirty="0" smtClean="0">
                <a:latin typeface="Calibri Light" panose="020F0302020204030204" pitchFamily="34" charset="0"/>
              </a:rPr>
              <a:t>Project Management for Acquisitions</a:t>
            </a:r>
            <a:endParaRPr lang="en-US" sz="3200" dirty="0">
              <a:latin typeface="Calibri Light" panose="020F030202020403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4305300"/>
            <a:ext cx="6858000" cy="2552699"/>
          </a:xfrm>
        </p:spPr>
        <p:txBody>
          <a:bodyPr anchor="ctr">
            <a:normAutofit/>
          </a:bodyPr>
          <a:lstStyle/>
          <a:p>
            <a:r>
              <a:rPr lang="en-US" sz="4000" b="1" dirty="0" smtClean="0">
                <a:solidFill>
                  <a:schemeClr val="accent5">
                    <a:lumMod val="50000"/>
                  </a:schemeClr>
                </a:solidFill>
                <a:latin typeface="+mj-lt"/>
              </a:rPr>
              <a:t>Code 210 All Hands</a:t>
            </a:r>
          </a:p>
          <a:p>
            <a:r>
              <a:rPr lang="en-US" sz="2000" dirty="0" smtClean="0"/>
              <a:t>May 25, 2017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065936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701"/>
            <a:ext cx="9144000" cy="1325880"/>
          </a:xfrm>
        </p:spPr>
        <p:txBody>
          <a:bodyPr lIns="0" tIns="0" rIns="0" bIns="0">
            <a:normAutofit/>
          </a:bodyPr>
          <a:lstStyle/>
          <a:p>
            <a:pPr algn="ctr"/>
            <a:r>
              <a:rPr lang="en-US" sz="4000" b="1" dirty="0" smtClean="0">
                <a:solidFill>
                  <a:schemeClr val="accent5">
                    <a:lumMod val="50000"/>
                  </a:schemeClr>
                </a:solidFill>
              </a:rPr>
              <a:t>Implementation / Change Management</a:t>
            </a:r>
            <a:endParaRPr lang="en-US" sz="40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21731931-2280-D54F-855E-04C8FDB4BEB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7" name="Isosceles Triangle 16"/>
          <p:cNvSpPr/>
          <p:nvPr/>
        </p:nvSpPr>
        <p:spPr bwMode="auto">
          <a:xfrm rot="16200000">
            <a:off x="670193" y="2918342"/>
            <a:ext cx="2542189" cy="1434016"/>
          </a:xfrm>
          <a:prstGeom prst="triangle">
            <a:avLst/>
          </a:prstGeom>
          <a:gradFill>
            <a:gsLst>
              <a:gs pos="100000">
                <a:srgbClr val="FFFFFF">
                  <a:lumMod val="75000"/>
                </a:srgbClr>
              </a:gs>
              <a:gs pos="50000">
                <a:srgbClr val="FFFFFF">
                  <a:lumMod val="85000"/>
                </a:srgbClr>
              </a:gs>
              <a:gs pos="100000">
                <a:srgbClr val="FFFFFF">
                  <a:lumMod val="75000"/>
                  <a:alpha val="0"/>
                </a:srgbClr>
              </a:gs>
            </a:gsLst>
            <a:lin ang="5400000" scaled="0"/>
          </a:gra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>
              <a:defRPr/>
            </a:pPr>
            <a:endParaRPr lang="en-US" kern="0" dirty="0" smtClean="0">
              <a:solidFill>
                <a:srgbClr val="262626"/>
              </a:solidFill>
              <a:latin typeface="Roboto Condensed"/>
            </a:endParaRPr>
          </a:p>
        </p:txBody>
      </p:sp>
      <p:sp>
        <p:nvSpPr>
          <p:cNvPr id="23" name="Oval 22"/>
          <p:cNvSpPr/>
          <p:nvPr/>
        </p:nvSpPr>
        <p:spPr bwMode="auto">
          <a:xfrm>
            <a:off x="316189" y="2809803"/>
            <a:ext cx="1619250" cy="161925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>
              <a:defRPr/>
            </a:pPr>
            <a:endParaRPr lang="en-US" kern="0" dirty="0" smtClean="0">
              <a:solidFill>
                <a:srgbClr val="262626"/>
              </a:solidFill>
              <a:latin typeface="Roboto Condensed"/>
            </a:endParaRPr>
          </a:p>
        </p:txBody>
      </p:sp>
      <p:sp>
        <p:nvSpPr>
          <p:cNvPr id="25" name="Text Placeholder 3"/>
          <p:cNvSpPr txBox="1">
            <a:spLocks/>
          </p:cNvSpPr>
          <p:nvPr/>
        </p:nvSpPr>
        <p:spPr>
          <a:xfrm flipH="1">
            <a:off x="328441" y="3403984"/>
            <a:ext cx="1616417" cy="43088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>
              <a:spcBef>
                <a:spcPct val="20000"/>
              </a:spcBef>
              <a:defRPr/>
            </a:pPr>
            <a:r>
              <a:rPr lang="en-US" sz="1400" b="1" dirty="0" smtClean="0">
                <a:solidFill>
                  <a:srgbClr val="FFFFFF"/>
                </a:solidFill>
                <a:latin typeface="Roboto Condensed"/>
              </a:rPr>
              <a:t>Implementation / Change Mgmt</a:t>
            </a:r>
            <a:endParaRPr lang="en-US" sz="1000" dirty="0" smtClean="0">
              <a:solidFill>
                <a:srgbClr val="FFFFFF"/>
              </a:solidFill>
              <a:latin typeface="Roboto Condensed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2697639" y="2384345"/>
            <a:ext cx="106547" cy="116378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solidFill>
                <a:srgbClr val="FFFFFF"/>
              </a:solidFill>
              <a:latin typeface="Roboto Condensed"/>
            </a:endParaRPr>
          </a:p>
        </p:txBody>
      </p:sp>
      <p:sp>
        <p:nvSpPr>
          <p:cNvPr id="29" name="TextBox 28"/>
          <p:cNvSpPr txBox="1"/>
          <p:nvPr/>
        </p:nvSpPr>
        <p:spPr>
          <a:xfrm flipH="1">
            <a:off x="2801906" y="2733603"/>
            <a:ext cx="6342089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600" b="1" dirty="0">
                <a:solidFill>
                  <a:srgbClr val="44546A">
                    <a:lumMod val="75000"/>
                  </a:srgbClr>
                </a:solidFill>
              </a:rPr>
              <a:t>Development of tools alone is not sufficient to ensure the Project Management for Acquisition (PMA) process is embraced by </a:t>
            </a:r>
            <a:r>
              <a:rPr lang="en-US" sz="1600" b="1" dirty="0" smtClean="0">
                <a:solidFill>
                  <a:srgbClr val="44546A">
                    <a:lumMod val="75000"/>
                  </a:srgbClr>
                </a:solidFill>
              </a:rPr>
              <a:t>all. </a:t>
            </a:r>
          </a:p>
        </p:txBody>
      </p:sp>
      <p:sp>
        <p:nvSpPr>
          <p:cNvPr id="31" name="TextBox 30"/>
          <p:cNvSpPr txBox="1"/>
          <p:nvPr/>
        </p:nvSpPr>
        <p:spPr>
          <a:xfrm flipH="1">
            <a:off x="2814610" y="4013468"/>
            <a:ext cx="632939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600" b="1" dirty="0">
                <a:solidFill>
                  <a:srgbClr val="44546A">
                    <a:lumMod val="75000"/>
                  </a:srgbClr>
                </a:solidFill>
              </a:rPr>
              <a:t>P</a:t>
            </a:r>
            <a:r>
              <a:rPr lang="en-US" sz="1600" b="1" dirty="0" smtClean="0">
                <a:solidFill>
                  <a:srgbClr val="44546A">
                    <a:lumMod val="75000"/>
                  </a:srgbClr>
                </a:solidFill>
              </a:rPr>
              <a:t>lan to use Knowledge </a:t>
            </a:r>
            <a:r>
              <a:rPr lang="en-US" sz="1600" b="1" dirty="0">
                <a:solidFill>
                  <a:srgbClr val="44546A">
                    <a:lumMod val="75000"/>
                  </a:srgbClr>
                </a:solidFill>
              </a:rPr>
              <a:t>Management </a:t>
            </a:r>
            <a:r>
              <a:rPr lang="en-US" sz="1600" b="1" dirty="0" smtClean="0">
                <a:solidFill>
                  <a:srgbClr val="44546A">
                    <a:lumMod val="75000"/>
                  </a:srgbClr>
                </a:solidFill>
              </a:rPr>
              <a:t>Team’s </a:t>
            </a:r>
            <a:r>
              <a:rPr lang="en-US" sz="1600" b="1" dirty="0">
                <a:solidFill>
                  <a:srgbClr val="44546A">
                    <a:lumMod val="75000"/>
                  </a:srgbClr>
                </a:solidFill>
              </a:rPr>
              <a:t>portal for PMA tools and process information.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697639" y="3722522"/>
            <a:ext cx="106547" cy="116378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solidFill>
                <a:srgbClr val="FFFFFF"/>
              </a:solidFill>
              <a:latin typeface="Roboto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20624109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3" grpId="0" animBg="1"/>
      <p:bldP spid="25" grpId="0"/>
      <p:bldP spid="28" grpId="0" animBg="1"/>
      <p:bldP spid="29" grpId="0"/>
      <p:bldP spid="31" grpId="0"/>
      <p:bldP spid="1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2701"/>
            <a:ext cx="7886700" cy="1325563"/>
          </a:xfrm>
        </p:spPr>
        <p:txBody>
          <a:bodyPr>
            <a:normAutofit/>
          </a:bodyPr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Success Metrics</a:t>
            </a:r>
            <a:endParaRPr lang="en-US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21731931-2280-D54F-855E-04C8FDB4BEB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394"/>
          <p:cNvSpPr txBox="1">
            <a:spLocks noChangeArrowheads="1"/>
          </p:cNvSpPr>
          <p:nvPr/>
        </p:nvSpPr>
        <p:spPr bwMode="auto">
          <a:xfrm>
            <a:off x="2851768" y="2254896"/>
            <a:ext cx="5311569" cy="1252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rtlCol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13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</a:rPr>
              <a:t>Acquisitions remain on schedule.</a:t>
            </a:r>
          </a:p>
          <a:p>
            <a:pPr algn="just"/>
            <a:r>
              <a:rPr lang="en-US" sz="13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</a:rPr>
              <a:t>Minimal changes to schedule.</a:t>
            </a:r>
          </a:p>
          <a:p>
            <a:pPr algn="just"/>
            <a:r>
              <a:rPr lang="en-US" sz="13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</a:rPr>
              <a:t>Impact of schedule changes are minimal.</a:t>
            </a:r>
          </a:p>
          <a:p>
            <a:pPr algn="just"/>
            <a:r>
              <a:rPr lang="en-US" sz="13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</a:rPr>
              <a:t>Assigned deliverables are completed by the target date.</a:t>
            </a:r>
          </a:p>
          <a:p>
            <a:pPr algn="just"/>
            <a:r>
              <a:rPr lang="en-US" sz="13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</a:rPr>
              <a:t>Proper and effective communication channels are utilized.</a:t>
            </a:r>
          </a:p>
        </p:txBody>
      </p:sp>
      <p:sp>
        <p:nvSpPr>
          <p:cNvPr id="17" name="Isosceles Triangle 16"/>
          <p:cNvSpPr/>
          <p:nvPr/>
        </p:nvSpPr>
        <p:spPr bwMode="auto">
          <a:xfrm rot="16200000">
            <a:off x="249894" y="3006385"/>
            <a:ext cx="3219725" cy="1270953"/>
          </a:xfrm>
          <a:prstGeom prst="triangle">
            <a:avLst/>
          </a:prstGeom>
          <a:gradFill>
            <a:gsLst>
              <a:gs pos="100000">
                <a:srgbClr val="FFFFFF">
                  <a:lumMod val="75000"/>
                </a:srgbClr>
              </a:gs>
              <a:gs pos="50000">
                <a:srgbClr val="FFFFFF">
                  <a:lumMod val="85000"/>
                </a:srgbClr>
              </a:gs>
              <a:gs pos="100000">
                <a:srgbClr val="FFFFFF">
                  <a:lumMod val="75000"/>
                  <a:alpha val="0"/>
                </a:srgbClr>
              </a:gs>
            </a:gsLst>
            <a:lin ang="5400000" scaled="0"/>
          </a:gra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Roboto Condensed"/>
            </a:endParaRPr>
          </a:p>
        </p:txBody>
      </p:sp>
      <p:sp>
        <p:nvSpPr>
          <p:cNvPr id="23" name="Oval 22"/>
          <p:cNvSpPr/>
          <p:nvPr/>
        </p:nvSpPr>
        <p:spPr bwMode="auto">
          <a:xfrm>
            <a:off x="221966" y="2811225"/>
            <a:ext cx="1619250" cy="161925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Roboto Condensed"/>
            </a:endParaRPr>
          </a:p>
        </p:txBody>
      </p:sp>
      <p:sp>
        <p:nvSpPr>
          <p:cNvPr id="25" name="Text Placeholder 3"/>
          <p:cNvSpPr txBox="1">
            <a:spLocks/>
          </p:cNvSpPr>
          <p:nvPr/>
        </p:nvSpPr>
        <p:spPr>
          <a:xfrm flipH="1">
            <a:off x="296856" y="3345416"/>
            <a:ext cx="1469470" cy="55399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buNone/>
              <a:defRPr sz="16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defTabSz="914400">
              <a:spcBef>
                <a:spcPct val="20000"/>
              </a:spcBef>
              <a:defRPr/>
            </a:pPr>
            <a:r>
              <a:rPr lang="en-US" sz="1800" b="1" dirty="0" smtClean="0">
                <a:solidFill>
                  <a:srgbClr val="FFFFFF"/>
                </a:solidFill>
                <a:latin typeface="Roboto Condensed"/>
              </a:rPr>
              <a:t>SUCCESS METRICS</a:t>
            </a:r>
            <a:endParaRPr lang="en-US" sz="1100" dirty="0" smtClean="0">
              <a:solidFill>
                <a:srgbClr val="FFFFFF"/>
              </a:solidFill>
              <a:latin typeface="Roboto Condensed"/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2531401" y="2052932"/>
            <a:ext cx="106230" cy="140460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Condensed"/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 flipH="1">
            <a:off x="2645391" y="1956235"/>
            <a:ext cx="50087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</a:rPr>
              <a:t>Project Management Plan is routinely used.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2531592" y="3595190"/>
            <a:ext cx="106547" cy="795232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Condensed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 flipH="1">
            <a:off x="2646525" y="3823529"/>
            <a:ext cx="634208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400"/>
            <a:r>
              <a:rPr lang="en-US" sz="1600" b="1" spc="-40" dirty="0" smtClean="0">
                <a:solidFill>
                  <a:schemeClr val="tx2">
                    <a:lumMod val="75000"/>
                  </a:schemeClr>
                </a:solidFill>
              </a:rPr>
              <a:t>Milestone Schedules &amp; Tools are flexible to accommodate all Agency needs.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2541117" y="4514023"/>
            <a:ext cx="106547" cy="722938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Condensed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 flipH="1">
            <a:off x="2647663" y="4689436"/>
            <a:ext cx="6339814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914400"/>
            <a:r>
              <a:rPr lang="en-US" sz="1600" b="1" spc="-60" dirty="0" smtClean="0">
                <a:solidFill>
                  <a:schemeClr val="tx2">
                    <a:lumMod val="75000"/>
                  </a:schemeClr>
                </a:solidFill>
              </a:rPr>
              <a:t>Timely identification of issues/concerns and </a:t>
            </a:r>
            <a:r>
              <a:rPr lang="en-US" sz="1600" b="1" spc="-60" dirty="0">
                <a:solidFill>
                  <a:schemeClr val="tx2">
                    <a:lumMod val="75000"/>
                  </a:schemeClr>
                </a:solidFill>
              </a:rPr>
              <a:t>reported to appropriate </a:t>
            </a:r>
            <a:r>
              <a:rPr lang="en-US" sz="1600" b="1" spc="-60" dirty="0" smtClean="0">
                <a:solidFill>
                  <a:schemeClr val="tx2">
                    <a:lumMod val="75000"/>
                  </a:schemeClr>
                </a:solidFill>
              </a:rPr>
              <a:t>personnel.</a:t>
            </a:r>
            <a:endParaRPr lang="en-US" sz="1600" b="1" spc="-6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099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7" grpId="0" animBg="1"/>
      <p:bldP spid="23" grpId="0" animBg="1"/>
      <p:bldP spid="25" grpId="0"/>
      <p:bldP spid="26" grpId="0" animBg="1"/>
      <p:bldP spid="27" grpId="0"/>
      <p:bldP spid="28" grpId="0" animBg="1"/>
      <p:bldP spid="29" grpId="0"/>
      <p:bldP spid="30" grpId="0" animBg="1"/>
      <p:bldP spid="3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2581275" y="4533900"/>
            <a:ext cx="2867025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1838325" y="3762375"/>
            <a:ext cx="3389471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3857625" y="3371850"/>
            <a:ext cx="3390900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794"/>
            <a:ext cx="91440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</a:rPr>
              <a:t>Project Management for Acquisitions</a:t>
            </a:r>
            <a:endParaRPr lang="en-US" sz="4000" b="1" dirty="0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8162925" y="4543425"/>
            <a:ext cx="573561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390727" y="4914900"/>
            <a:ext cx="1438073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4205" y="1797050"/>
            <a:ext cx="8575590" cy="4351338"/>
          </a:xfrm>
        </p:spPr>
        <p:txBody>
          <a:bodyPr/>
          <a:lstStyle/>
          <a:p>
            <a:pPr marL="0" indent="0" algn="ctr">
              <a:buNone/>
            </a:pPr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Decision 7:</a:t>
            </a:r>
          </a:p>
          <a:p>
            <a:pPr marL="0" indent="0">
              <a:buNone/>
            </a:pPr>
            <a:endParaRPr lang="en-US" sz="1200" dirty="0"/>
          </a:p>
          <a:p>
            <a:pPr marL="0" indent="0" algn="just">
              <a:buNone/>
            </a:pPr>
            <a:r>
              <a:rPr lang="en-US" i="1" dirty="0" smtClean="0"/>
              <a:t>“Apply Project Management Principles to the acquisition process and establish a consistent methodology to enable a more efficient measurement practice for tracking procurements and Contractor Performance with the goal of significantly reducing lead-times and selecting the best Contractor for all procurements.”</a:t>
            </a:r>
            <a:endParaRPr lang="en-US" i="1" dirty="0"/>
          </a:p>
        </p:txBody>
      </p:sp>
      <p:sp>
        <p:nvSpPr>
          <p:cNvPr id="9" name="Rectangle 8"/>
          <p:cNvSpPr/>
          <p:nvPr/>
        </p:nvSpPr>
        <p:spPr bwMode="auto">
          <a:xfrm>
            <a:off x="-1" y="1818040"/>
            <a:ext cx="9144002" cy="423880"/>
          </a:xfrm>
          <a:prstGeom prst="rect">
            <a:avLst/>
          </a:prstGeom>
          <a:solidFill>
            <a:srgbClr val="AFABAB">
              <a:alpha val="30196"/>
            </a:srgb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2477079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10"/>
          <p:cNvGrpSpPr/>
          <p:nvPr/>
        </p:nvGrpSpPr>
        <p:grpSpPr>
          <a:xfrm>
            <a:off x="2055881" y="2308091"/>
            <a:ext cx="4085391" cy="2526543"/>
            <a:chOff x="812374" y="1547444"/>
            <a:chExt cx="4367012" cy="2700705"/>
          </a:xfrm>
          <a:solidFill>
            <a:srgbClr val="FFFFFF">
              <a:lumMod val="85000"/>
            </a:srgbClr>
          </a:solidFill>
        </p:grpSpPr>
        <p:grpSp>
          <p:nvGrpSpPr>
            <p:cNvPr id="5" name="Group 126"/>
            <p:cNvGrpSpPr/>
            <p:nvPr/>
          </p:nvGrpSpPr>
          <p:grpSpPr>
            <a:xfrm>
              <a:off x="871406" y="1642700"/>
              <a:ext cx="4192599" cy="2562517"/>
              <a:chOff x="871406" y="1642700"/>
              <a:chExt cx="4192599" cy="2562517"/>
            </a:xfrm>
            <a:grpFill/>
          </p:grpSpPr>
          <p:sp>
            <p:nvSpPr>
              <p:cNvPr id="22" name="Freeform 5"/>
              <p:cNvSpPr>
                <a:spLocks/>
              </p:cNvSpPr>
              <p:nvPr/>
            </p:nvSpPr>
            <p:spPr bwMode="auto">
              <a:xfrm>
                <a:off x="1862871" y="2140445"/>
                <a:ext cx="578244" cy="487013"/>
              </a:xfrm>
              <a:custGeom>
                <a:avLst/>
                <a:gdLst/>
                <a:ahLst/>
                <a:cxnLst>
                  <a:cxn ang="0">
                    <a:pos x="9" y="230"/>
                  </a:cxn>
                  <a:cxn ang="0">
                    <a:pos x="44" y="36"/>
                  </a:cxn>
                  <a:cxn ang="0">
                    <a:pos x="44" y="0"/>
                  </a:cxn>
                  <a:cxn ang="0">
                    <a:pos x="53" y="0"/>
                  </a:cxn>
                  <a:cxn ang="0">
                    <a:pos x="149" y="9"/>
                  </a:cxn>
                  <a:cxn ang="0">
                    <a:pos x="246" y="27"/>
                  </a:cxn>
                  <a:cxn ang="0">
                    <a:pos x="361" y="36"/>
                  </a:cxn>
                  <a:cxn ang="0">
                    <a:pos x="431" y="44"/>
                  </a:cxn>
                  <a:cxn ang="0">
                    <a:pos x="422" y="204"/>
                  </a:cxn>
                  <a:cxn ang="0">
                    <a:pos x="413" y="363"/>
                  </a:cxn>
                  <a:cxn ang="0">
                    <a:pos x="317" y="354"/>
                  </a:cxn>
                  <a:cxn ang="0">
                    <a:pos x="273" y="345"/>
                  </a:cxn>
                  <a:cxn ang="0">
                    <a:pos x="176" y="336"/>
                  </a:cxn>
                  <a:cxn ang="0">
                    <a:pos x="114" y="327"/>
                  </a:cxn>
                  <a:cxn ang="0">
                    <a:pos x="0" y="310"/>
                  </a:cxn>
                  <a:cxn ang="0">
                    <a:pos x="9" y="230"/>
                  </a:cxn>
                </a:cxnLst>
                <a:rect l="0" t="0" r="r" b="b"/>
                <a:pathLst>
                  <a:path w="431" h="363">
                    <a:moveTo>
                      <a:pt x="9" y="230"/>
                    </a:moveTo>
                    <a:lnTo>
                      <a:pt x="44" y="36"/>
                    </a:lnTo>
                    <a:lnTo>
                      <a:pt x="44" y="0"/>
                    </a:lnTo>
                    <a:lnTo>
                      <a:pt x="53" y="0"/>
                    </a:lnTo>
                    <a:lnTo>
                      <a:pt x="149" y="9"/>
                    </a:lnTo>
                    <a:lnTo>
                      <a:pt x="246" y="27"/>
                    </a:lnTo>
                    <a:lnTo>
                      <a:pt x="361" y="36"/>
                    </a:lnTo>
                    <a:lnTo>
                      <a:pt x="431" y="44"/>
                    </a:lnTo>
                    <a:lnTo>
                      <a:pt x="422" y="204"/>
                    </a:lnTo>
                    <a:lnTo>
                      <a:pt x="413" y="363"/>
                    </a:lnTo>
                    <a:lnTo>
                      <a:pt x="317" y="354"/>
                    </a:lnTo>
                    <a:lnTo>
                      <a:pt x="273" y="345"/>
                    </a:lnTo>
                    <a:lnTo>
                      <a:pt x="176" y="336"/>
                    </a:lnTo>
                    <a:lnTo>
                      <a:pt x="114" y="327"/>
                    </a:lnTo>
                    <a:lnTo>
                      <a:pt x="0" y="310"/>
                    </a:lnTo>
                    <a:lnTo>
                      <a:pt x="9" y="230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23" name="Freeform 6"/>
              <p:cNvSpPr>
                <a:spLocks/>
              </p:cNvSpPr>
              <p:nvPr/>
            </p:nvSpPr>
            <p:spPr bwMode="auto">
              <a:xfrm>
                <a:off x="1862871" y="2140445"/>
                <a:ext cx="578244" cy="487013"/>
              </a:xfrm>
              <a:custGeom>
                <a:avLst/>
                <a:gdLst/>
                <a:ahLst/>
                <a:cxnLst>
                  <a:cxn ang="0">
                    <a:pos x="9" y="230"/>
                  </a:cxn>
                  <a:cxn ang="0">
                    <a:pos x="44" y="36"/>
                  </a:cxn>
                  <a:cxn ang="0">
                    <a:pos x="44" y="0"/>
                  </a:cxn>
                  <a:cxn ang="0">
                    <a:pos x="53" y="0"/>
                  </a:cxn>
                  <a:cxn ang="0">
                    <a:pos x="149" y="9"/>
                  </a:cxn>
                  <a:cxn ang="0">
                    <a:pos x="246" y="27"/>
                  </a:cxn>
                  <a:cxn ang="0">
                    <a:pos x="361" y="36"/>
                  </a:cxn>
                  <a:cxn ang="0">
                    <a:pos x="431" y="44"/>
                  </a:cxn>
                  <a:cxn ang="0">
                    <a:pos x="422" y="204"/>
                  </a:cxn>
                  <a:cxn ang="0">
                    <a:pos x="413" y="363"/>
                  </a:cxn>
                  <a:cxn ang="0">
                    <a:pos x="317" y="354"/>
                  </a:cxn>
                  <a:cxn ang="0">
                    <a:pos x="273" y="345"/>
                  </a:cxn>
                  <a:cxn ang="0">
                    <a:pos x="176" y="336"/>
                  </a:cxn>
                  <a:cxn ang="0">
                    <a:pos x="114" y="327"/>
                  </a:cxn>
                  <a:cxn ang="0">
                    <a:pos x="0" y="310"/>
                  </a:cxn>
                  <a:cxn ang="0">
                    <a:pos x="9" y="230"/>
                  </a:cxn>
                </a:cxnLst>
                <a:rect l="0" t="0" r="r" b="b"/>
                <a:pathLst>
                  <a:path w="431" h="363">
                    <a:moveTo>
                      <a:pt x="9" y="230"/>
                    </a:moveTo>
                    <a:lnTo>
                      <a:pt x="44" y="36"/>
                    </a:lnTo>
                    <a:lnTo>
                      <a:pt x="44" y="0"/>
                    </a:lnTo>
                    <a:lnTo>
                      <a:pt x="53" y="0"/>
                    </a:lnTo>
                    <a:lnTo>
                      <a:pt x="149" y="9"/>
                    </a:lnTo>
                    <a:lnTo>
                      <a:pt x="246" y="27"/>
                    </a:lnTo>
                    <a:lnTo>
                      <a:pt x="361" y="36"/>
                    </a:lnTo>
                    <a:lnTo>
                      <a:pt x="431" y="44"/>
                    </a:lnTo>
                    <a:lnTo>
                      <a:pt x="422" y="204"/>
                    </a:lnTo>
                    <a:lnTo>
                      <a:pt x="413" y="363"/>
                    </a:lnTo>
                    <a:lnTo>
                      <a:pt x="317" y="354"/>
                    </a:lnTo>
                    <a:lnTo>
                      <a:pt x="273" y="345"/>
                    </a:lnTo>
                    <a:lnTo>
                      <a:pt x="176" y="336"/>
                    </a:lnTo>
                    <a:lnTo>
                      <a:pt x="114" y="327"/>
                    </a:lnTo>
                    <a:lnTo>
                      <a:pt x="0" y="310"/>
                    </a:lnTo>
                    <a:lnTo>
                      <a:pt x="9" y="230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24" name="Freeform 9"/>
              <p:cNvSpPr>
                <a:spLocks/>
              </p:cNvSpPr>
              <p:nvPr/>
            </p:nvSpPr>
            <p:spPr bwMode="auto">
              <a:xfrm>
                <a:off x="4153037" y="2567084"/>
                <a:ext cx="364924" cy="379682"/>
              </a:xfrm>
              <a:custGeom>
                <a:avLst/>
                <a:gdLst/>
                <a:ahLst/>
                <a:cxnLst>
                  <a:cxn ang="0">
                    <a:pos x="0" y="195"/>
                  </a:cxn>
                  <a:cxn ang="0">
                    <a:pos x="9" y="177"/>
                  </a:cxn>
                  <a:cxn ang="0">
                    <a:pos x="17" y="168"/>
                  </a:cxn>
                  <a:cxn ang="0">
                    <a:pos x="17" y="151"/>
                  </a:cxn>
                  <a:cxn ang="0">
                    <a:pos x="26" y="142"/>
                  </a:cxn>
                  <a:cxn ang="0">
                    <a:pos x="35" y="142"/>
                  </a:cxn>
                  <a:cxn ang="0">
                    <a:pos x="35" y="124"/>
                  </a:cxn>
                  <a:cxn ang="0">
                    <a:pos x="44" y="115"/>
                  </a:cxn>
                  <a:cxn ang="0">
                    <a:pos x="70" y="98"/>
                  </a:cxn>
                  <a:cxn ang="0">
                    <a:pos x="88" y="71"/>
                  </a:cxn>
                  <a:cxn ang="0">
                    <a:pos x="88" y="62"/>
                  </a:cxn>
                  <a:cxn ang="0">
                    <a:pos x="88" y="45"/>
                  </a:cxn>
                  <a:cxn ang="0">
                    <a:pos x="88" y="9"/>
                  </a:cxn>
                  <a:cxn ang="0">
                    <a:pos x="88" y="0"/>
                  </a:cxn>
                  <a:cxn ang="0">
                    <a:pos x="167" y="62"/>
                  </a:cxn>
                  <a:cxn ang="0">
                    <a:pos x="185" y="89"/>
                  </a:cxn>
                  <a:cxn ang="0">
                    <a:pos x="193" y="80"/>
                  </a:cxn>
                  <a:cxn ang="0">
                    <a:pos x="211" y="62"/>
                  </a:cxn>
                  <a:cxn ang="0">
                    <a:pos x="211" y="62"/>
                  </a:cxn>
                  <a:cxn ang="0">
                    <a:pos x="228" y="62"/>
                  </a:cxn>
                  <a:cxn ang="0">
                    <a:pos x="237" y="54"/>
                  </a:cxn>
                  <a:cxn ang="0">
                    <a:pos x="255" y="54"/>
                  </a:cxn>
                  <a:cxn ang="0">
                    <a:pos x="264" y="62"/>
                  </a:cxn>
                  <a:cxn ang="0">
                    <a:pos x="272" y="71"/>
                  </a:cxn>
                  <a:cxn ang="0">
                    <a:pos x="272" y="89"/>
                  </a:cxn>
                  <a:cxn ang="0">
                    <a:pos x="237" y="80"/>
                  </a:cxn>
                  <a:cxn ang="0">
                    <a:pos x="228" y="98"/>
                  </a:cxn>
                  <a:cxn ang="0">
                    <a:pos x="220" y="115"/>
                  </a:cxn>
                  <a:cxn ang="0">
                    <a:pos x="202" y="124"/>
                  </a:cxn>
                  <a:cxn ang="0">
                    <a:pos x="202" y="142"/>
                  </a:cxn>
                  <a:cxn ang="0">
                    <a:pos x="193" y="160"/>
                  </a:cxn>
                  <a:cxn ang="0">
                    <a:pos x="176" y="151"/>
                  </a:cxn>
                  <a:cxn ang="0">
                    <a:pos x="167" y="168"/>
                  </a:cxn>
                  <a:cxn ang="0">
                    <a:pos x="158" y="186"/>
                  </a:cxn>
                  <a:cxn ang="0">
                    <a:pos x="149" y="213"/>
                  </a:cxn>
                  <a:cxn ang="0">
                    <a:pos x="149" y="230"/>
                  </a:cxn>
                  <a:cxn ang="0">
                    <a:pos x="149" y="248"/>
                  </a:cxn>
                  <a:cxn ang="0">
                    <a:pos x="123" y="257"/>
                  </a:cxn>
                  <a:cxn ang="0">
                    <a:pos x="114" y="266"/>
                  </a:cxn>
                  <a:cxn ang="0">
                    <a:pos x="88" y="275"/>
                  </a:cxn>
                  <a:cxn ang="0">
                    <a:pos x="70" y="283"/>
                  </a:cxn>
                  <a:cxn ang="0">
                    <a:pos x="53" y="266"/>
                  </a:cxn>
                  <a:cxn ang="0">
                    <a:pos x="35" y="257"/>
                  </a:cxn>
                  <a:cxn ang="0">
                    <a:pos x="9" y="230"/>
                  </a:cxn>
                  <a:cxn ang="0">
                    <a:pos x="0" y="204"/>
                  </a:cxn>
                  <a:cxn ang="0">
                    <a:pos x="0" y="195"/>
                  </a:cxn>
                </a:cxnLst>
                <a:rect l="0" t="0" r="r" b="b"/>
                <a:pathLst>
                  <a:path w="272" h="283">
                    <a:moveTo>
                      <a:pt x="0" y="195"/>
                    </a:moveTo>
                    <a:lnTo>
                      <a:pt x="0" y="195"/>
                    </a:lnTo>
                    <a:lnTo>
                      <a:pt x="0" y="195"/>
                    </a:lnTo>
                    <a:lnTo>
                      <a:pt x="9" y="195"/>
                    </a:lnTo>
                    <a:lnTo>
                      <a:pt x="9" y="186"/>
                    </a:lnTo>
                    <a:lnTo>
                      <a:pt x="9" y="177"/>
                    </a:lnTo>
                    <a:lnTo>
                      <a:pt x="17" y="177"/>
                    </a:lnTo>
                    <a:lnTo>
                      <a:pt x="17" y="168"/>
                    </a:lnTo>
                    <a:lnTo>
                      <a:pt x="17" y="168"/>
                    </a:lnTo>
                    <a:lnTo>
                      <a:pt x="17" y="160"/>
                    </a:lnTo>
                    <a:lnTo>
                      <a:pt x="17" y="160"/>
                    </a:lnTo>
                    <a:lnTo>
                      <a:pt x="17" y="151"/>
                    </a:lnTo>
                    <a:lnTo>
                      <a:pt x="17" y="151"/>
                    </a:lnTo>
                    <a:lnTo>
                      <a:pt x="26" y="142"/>
                    </a:lnTo>
                    <a:lnTo>
                      <a:pt x="26" y="142"/>
                    </a:lnTo>
                    <a:lnTo>
                      <a:pt x="35" y="151"/>
                    </a:lnTo>
                    <a:lnTo>
                      <a:pt x="35" y="151"/>
                    </a:lnTo>
                    <a:lnTo>
                      <a:pt x="35" y="142"/>
                    </a:lnTo>
                    <a:lnTo>
                      <a:pt x="35" y="133"/>
                    </a:lnTo>
                    <a:lnTo>
                      <a:pt x="35" y="133"/>
                    </a:lnTo>
                    <a:lnTo>
                      <a:pt x="35" y="124"/>
                    </a:lnTo>
                    <a:lnTo>
                      <a:pt x="44" y="124"/>
                    </a:lnTo>
                    <a:lnTo>
                      <a:pt x="44" y="115"/>
                    </a:lnTo>
                    <a:lnTo>
                      <a:pt x="44" y="115"/>
                    </a:lnTo>
                    <a:lnTo>
                      <a:pt x="53" y="107"/>
                    </a:lnTo>
                    <a:lnTo>
                      <a:pt x="61" y="107"/>
                    </a:lnTo>
                    <a:lnTo>
                      <a:pt x="70" y="98"/>
                    </a:lnTo>
                    <a:lnTo>
                      <a:pt x="79" y="89"/>
                    </a:lnTo>
                    <a:lnTo>
                      <a:pt x="79" y="89"/>
                    </a:lnTo>
                    <a:lnTo>
                      <a:pt x="88" y="71"/>
                    </a:lnTo>
                    <a:lnTo>
                      <a:pt x="88" y="71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54"/>
                    </a:lnTo>
                    <a:lnTo>
                      <a:pt x="88" y="45"/>
                    </a:lnTo>
                    <a:lnTo>
                      <a:pt x="88" y="36"/>
                    </a:lnTo>
                    <a:lnTo>
                      <a:pt x="88" y="27"/>
                    </a:lnTo>
                    <a:lnTo>
                      <a:pt x="88" y="9"/>
                    </a:lnTo>
                    <a:lnTo>
                      <a:pt x="88" y="9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105" y="71"/>
                    </a:lnTo>
                    <a:lnTo>
                      <a:pt x="167" y="62"/>
                    </a:lnTo>
                    <a:lnTo>
                      <a:pt x="176" y="107"/>
                    </a:lnTo>
                    <a:lnTo>
                      <a:pt x="176" y="98"/>
                    </a:lnTo>
                    <a:lnTo>
                      <a:pt x="185" y="89"/>
                    </a:lnTo>
                    <a:lnTo>
                      <a:pt x="185" y="89"/>
                    </a:lnTo>
                    <a:lnTo>
                      <a:pt x="193" y="80"/>
                    </a:lnTo>
                    <a:lnTo>
                      <a:pt x="193" y="80"/>
                    </a:lnTo>
                    <a:lnTo>
                      <a:pt x="193" y="71"/>
                    </a:lnTo>
                    <a:lnTo>
                      <a:pt x="202" y="80"/>
                    </a:lnTo>
                    <a:lnTo>
                      <a:pt x="211" y="62"/>
                    </a:lnTo>
                    <a:lnTo>
                      <a:pt x="211" y="62"/>
                    </a:lnTo>
                    <a:lnTo>
                      <a:pt x="211" y="62"/>
                    </a:lnTo>
                    <a:lnTo>
                      <a:pt x="211" y="62"/>
                    </a:lnTo>
                    <a:lnTo>
                      <a:pt x="220" y="62"/>
                    </a:lnTo>
                    <a:lnTo>
                      <a:pt x="228" y="62"/>
                    </a:lnTo>
                    <a:lnTo>
                      <a:pt x="228" y="62"/>
                    </a:lnTo>
                    <a:lnTo>
                      <a:pt x="228" y="54"/>
                    </a:lnTo>
                    <a:lnTo>
                      <a:pt x="237" y="54"/>
                    </a:lnTo>
                    <a:lnTo>
                      <a:pt x="237" y="54"/>
                    </a:lnTo>
                    <a:lnTo>
                      <a:pt x="246" y="45"/>
                    </a:lnTo>
                    <a:lnTo>
                      <a:pt x="246" y="54"/>
                    </a:lnTo>
                    <a:lnTo>
                      <a:pt x="255" y="54"/>
                    </a:lnTo>
                    <a:lnTo>
                      <a:pt x="264" y="54"/>
                    </a:lnTo>
                    <a:lnTo>
                      <a:pt x="264" y="54"/>
                    </a:lnTo>
                    <a:lnTo>
                      <a:pt x="264" y="62"/>
                    </a:lnTo>
                    <a:lnTo>
                      <a:pt x="272" y="62"/>
                    </a:lnTo>
                    <a:lnTo>
                      <a:pt x="272" y="62"/>
                    </a:lnTo>
                    <a:lnTo>
                      <a:pt x="272" y="71"/>
                    </a:lnTo>
                    <a:lnTo>
                      <a:pt x="272" y="71"/>
                    </a:lnTo>
                    <a:lnTo>
                      <a:pt x="272" y="80"/>
                    </a:lnTo>
                    <a:lnTo>
                      <a:pt x="272" y="89"/>
                    </a:lnTo>
                    <a:lnTo>
                      <a:pt x="237" y="71"/>
                    </a:lnTo>
                    <a:lnTo>
                      <a:pt x="237" y="71"/>
                    </a:lnTo>
                    <a:lnTo>
                      <a:pt x="237" y="80"/>
                    </a:lnTo>
                    <a:lnTo>
                      <a:pt x="237" y="80"/>
                    </a:lnTo>
                    <a:lnTo>
                      <a:pt x="237" y="98"/>
                    </a:lnTo>
                    <a:lnTo>
                      <a:pt x="228" y="98"/>
                    </a:lnTo>
                    <a:lnTo>
                      <a:pt x="228" y="107"/>
                    </a:lnTo>
                    <a:lnTo>
                      <a:pt x="228" y="115"/>
                    </a:lnTo>
                    <a:lnTo>
                      <a:pt x="220" y="115"/>
                    </a:lnTo>
                    <a:lnTo>
                      <a:pt x="220" y="124"/>
                    </a:lnTo>
                    <a:lnTo>
                      <a:pt x="211" y="124"/>
                    </a:lnTo>
                    <a:lnTo>
                      <a:pt x="202" y="124"/>
                    </a:lnTo>
                    <a:lnTo>
                      <a:pt x="202" y="133"/>
                    </a:lnTo>
                    <a:lnTo>
                      <a:pt x="202" y="142"/>
                    </a:lnTo>
                    <a:lnTo>
                      <a:pt x="202" y="142"/>
                    </a:lnTo>
                    <a:lnTo>
                      <a:pt x="202" y="151"/>
                    </a:lnTo>
                    <a:lnTo>
                      <a:pt x="193" y="160"/>
                    </a:lnTo>
                    <a:lnTo>
                      <a:pt x="193" y="160"/>
                    </a:lnTo>
                    <a:lnTo>
                      <a:pt x="185" y="160"/>
                    </a:lnTo>
                    <a:lnTo>
                      <a:pt x="185" y="160"/>
                    </a:lnTo>
                    <a:lnTo>
                      <a:pt x="176" y="151"/>
                    </a:lnTo>
                    <a:lnTo>
                      <a:pt x="167" y="151"/>
                    </a:lnTo>
                    <a:lnTo>
                      <a:pt x="167" y="168"/>
                    </a:lnTo>
                    <a:lnTo>
                      <a:pt x="167" y="168"/>
                    </a:lnTo>
                    <a:lnTo>
                      <a:pt x="167" y="168"/>
                    </a:lnTo>
                    <a:lnTo>
                      <a:pt x="167" y="186"/>
                    </a:lnTo>
                    <a:lnTo>
                      <a:pt x="158" y="186"/>
                    </a:lnTo>
                    <a:lnTo>
                      <a:pt x="158" y="195"/>
                    </a:lnTo>
                    <a:lnTo>
                      <a:pt x="158" y="204"/>
                    </a:lnTo>
                    <a:lnTo>
                      <a:pt x="149" y="213"/>
                    </a:lnTo>
                    <a:lnTo>
                      <a:pt x="149" y="222"/>
                    </a:lnTo>
                    <a:lnTo>
                      <a:pt x="149" y="230"/>
                    </a:lnTo>
                    <a:lnTo>
                      <a:pt x="149" y="230"/>
                    </a:lnTo>
                    <a:lnTo>
                      <a:pt x="149" y="239"/>
                    </a:lnTo>
                    <a:lnTo>
                      <a:pt x="149" y="248"/>
                    </a:lnTo>
                    <a:lnTo>
                      <a:pt x="149" y="248"/>
                    </a:lnTo>
                    <a:lnTo>
                      <a:pt x="141" y="248"/>
                    </a:lnTo>
                    <a:lnTo>
                      <a:pt x="132" y="248"/>
                    </a:lnTo>
                    <a:lnTo>
                      <a:pt x="123" y="257"/>
                    </a:lnTo>
                    <a:lnTo>
                      <a:pt x="114" y="257"/>
                    </a:lnTo>
                    <a:lnTo>
                      <a:pt x="114" y="266"/>
                    </a:lnTo>
                    <a:lnTo>
                      <a:pt x="114" y="266"/>
                    </a:lnTo>
                    <a:lnTo>
                      <a:pt x="105" y="266"/>
                    </a:lnTo>
                    <a:lnTo>
                      <a:pt x="97" y="275"/>
                    </a:lnTo>
                    <a:lnTo>
                      <a:pt x="88" y="275"/>
                    </a:lnTo>
                    <a:lnTo>
                      <a:pt x="88" y="266"/>
                    </a:lnTo>
                    <a:lnTo>
                      <a:pt x="79" y="275"/>
                    </a:lnTo>
                    <a:lnTo>
                      <a:pt x="70" y="283"/>
                    </a:lnTo>
                    <a:lnTo>
                      <a:pt x="61" y="283"/>
                    </a:lnTo>
                    <a:lnTo>
                      <a:pt x="53" y="275"/>
                    </a:lnTo>
                    <a:lnTo>
                      <a:pt x="53" y="266"/>
                    </a:lnTo>
                    <a:lnTo>
                      <a:pt x="44" y="266"/>
                    </a:lnTo>
                    <a:lnTo>
                      <a:pt x="44" y="257"/>
                    </a:lnTo>
                    <a:lnTo>
                      <a:pt x="35" y="257"/>
                    </a:lnTo>
                    <a:lnTo>
                      <a:pt x="26" y="248"/>
                    </a:lnTo>
                    <a:lnTo>
                      <a:pt x="17" y="239"/>
                    </a:lnTo>
                    <a:lnTo>
                      <a:pt x="9" y="230"/>
                    </a:lnTo>
                    <a:lnTo>
                      <a:pt x="9" y="230"/>
                    </a:lnTo>
                    <a:lnTo>
                      <a:pt x="0" y="213"/>
                    </a:lnTo>
                    <a:lnTo>
                      <a:pt x="0" y="204"/>
                    </a:lnTo>
                    <a:lnTo>
                      <a:pt x="0" y="204"/>
                    </a:lnTo>
                    <a:lnTo>
                      <a:pt x="0" y="195"/>
                    </a:lnTo>
                    <a:lnTo>
                      <a:pt x="0" y="195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25" name="Freeform 10"/>
              <p:cNvSpPr>
                <a:spLocks/>
              </p:cNvSpPr>
              <p:nvPr/>
            </p:nvSpPr>
            <p:spPr bwMode="auto">
              <a:xfrm>
                <a:off x="4153037" y="2567084"/>
                <a:ext cx="364924" cy="379682"/>
              </a:xfrm>
              <a:custGeom>
                <a:avLst/>
                <a:gdLst/>
                <a:ahLst/>
                <a:cxnLst>
                  <a:cxn ang="0">
                    <a:pos x="0" y="195"/>
                  </a:cxn>
                  <a:cxn ang="0">
                    <a:pos x="9" y="177"/>
                  </a:cxn>
                  <a:cxn ang="0">
                    <a:pos x="17" y="168"/>
                  </a:cxn>
                  <a:cxn ang="0">
                    <a:pos x="17" y="151"/>
                  </a:cxn>
                  <a:cxn ang="0">
                    <a:pos x="26" y="142"/>
                  </a:cxn>
                  <a:cxn ang="0">
                    <a:pos x="35" y="142"/>
                  </a:cxn>
                  <a:cxn ang="0">
                    <a:pos x="35" y="124"/>
                  </a:cxn>
                  <a:cxn ang="0">
                    <a:pos x="44" y="115"/>
                  </a:cxn>
                  <a:cxn ang="0">
                    <a:pos x="70" y="98"/>
                  </a:cxn>
                  <a:cxn ang="0">
                    <a:pos x="88" y="71"/>
                  </a:cxn>
                  <a:cxn ang="0">
                    <a:pos x="88" y="62"/>
                  </a:cxn>
                  <a:cxn ang="0">
                    <a:pos x="88" y="45"/>
                  </a:cxn>
                  <a:cxn ang="0">
                    <a:pos x="88" y="9"/>
                  </a:cxn>
                  <a:cxn ang="0">
                    <a:pos x="88" y="0"/>
                  </a:cxn>
                  <a:cxn ang="0">
                    <a:pos x="167" y="62"/>
                  </a:cxn>
                  <a:cxn ang="0">
                    <a:pos x="185" y="89"/>
                  </a:cxn>
                  <a:cxn ang="0">
                    <a:pos x="193" y="80"/>
                  </a:cxn>
                  <a:cxn ang="0">
                    <a:pos x="211" y="62"/>
                  </a:cxn>
                  <a:cxn ang="0">
                    <a:pos x="211" y="62"/>
                  </a:cxn>
                  <a:cxn ang="0">
                    <a:pos x="228" y="62"/>
                  </a:cxn>
                  <a:cxn ang="0">
                    <a:pos x="237" y="54"/>
                  </a:cxn>
                  <a:cxn ang="0">
                    <a:pos x="255" y="54"/>
                  </a:cxn>
                  <a:cxn ang="0">
                    <a:pos x="264" y="62"/>
                  </a:cxn>
                  <a:cxn ang="0">
                    <a:pos x="272" y="71"/>
                  </a:cxn>
                  <a:cxn ang="0">
                    <a:pos x="272" y="89"/>
                  </a:cxn>
                  <a:cxn ang="0">
                    <a:pos x="237" y="80"/>
                  </a:cxn>
                  <a:cxn ang="0">
                    <a:pos x="228" y="98"/>
                  </a:cxn>
                  <a:cxn ang="0">
                    <a:pos x="220" y="115"/>
                  </a:cxn>
                  <a:cxn ang="0">
                    <a:pos x="202" y="124"/>
                  </a:cxn>
                  <a:cxn ang="0">
                    <a:pos x="202" y="142"/>
                  </a:cxn>
                  <a:cxn ang="0">
                    <a:pos x="193" y="160"/>
                  </a:cxn>
                  <a:cxn ang="0">
                    <a:pos x="176" y="151"/>
                  </a:cxn>
                  <a:cxn ang="0">
                    <a:pos x="167" y="168"/>
                  </a:cxn>
                  <a:cxn ang="0">
                    <a:pos x="158" y="186"/>
                  </a:cxn>
                  <a:cxn ang="0">
                    <a:pos x="149" y="213"/>
                  </a:cxn>
                  <a:cxn ang="0">
                    <a:pos x="149" y="230"/>
                  </a:cxn>
                  <a:cxn ang="0">
                    <a:pos x="149" y="248"/>
                  </a:cxn>
                  <a:cxn ang="0">
                    <a:pos x="123" y="257"/>
                  </a:cxn>
                  <a:cxn ang="0">
                    <a:pos x="114" y="266"/>
                  </a:cxn>
                  <a:cxn ang="0">
                    <a:pos x="88" y="275"/>
                  </a:cxn>
                  <a:cxn ang="0">
                    <a:pos x="70" y="283"/>
                  </a:cxn>
                  <a:cxn ang="0">
                    <a:pos x="53" y="266"/>
                  </a:cxn>
                  <a:cxn ang="0">
                    <a:pos x="35" y="257"/>
                  </a:cxn>
                  <a:cxn ang="0">
                    <a:pos x="9" y="230"/>
                  </a:cxn>
                  <a:cxn ang="0">
                    <a:pos x="0" y="204"/>
                  </a:cxn>
                  <a:cxn ang="0">
                    <a:pos x="0" y="195"/>
                  </a:cxn>
                </a:cxnLst>
                <a:rect l="0" t="0" r="r" b="b"/>
                <a:pathLst>
                  <a:path w="272" h="283">
                    <a:moveTo>
                      <a:pt x="0" y="195"/>
                    </a:moveTo>
                    <a:lnTo>
                      <a:pt x="0" y="195"/>
                    </a:lnTo>
                    <a:lnTo>
                      <a:pt x="0" y="195"/>
                    </a:lnTo>
                    <a:lnTo>
                      <a:pt x="9" y="195"/>
                    </a:lnTo>
                    <a:lnTo>
                      <a:pt x="9" y="186"/>
                    </a:lnTo>
                    <a:lnTo>
                      <a:pt x="9" y="177"/>
                    </a:lnTo>
                    <a:lnTo>
                      <a:pt x="17" y="177"/>
                    </a:lnTo>
                    <a:lnTo>
                      <a:pt x="17" y="168"/>
                    </a:lnTo>
                    <a:lnTo>
                      <a:pt x="17" y="168"/>
                    </a:lnTo>
                    <a:lnTo>
                      <a:pt x="17" y="160"/>
                    </a:lnTo>
                    <a:lnTo>
                      <a:pt x="17" y="160"/>
                    </a:lnTo>
                    <a:lnTo>
                      <a:pt x="17" y="151"/>
                    </a:lnTo>
                    <a:lnTo>
                      <a:pt x="17" y="151"/>
                    </a:lnTo>
                    <a:lnTo>
                      <a:pt x="26" y="142"/>
                    </a:lnTo>
                    <a:lnTo>
                      <a:pt x="26" y="142"/>
                    </a:lnTo>
                    <a:lnTo>
                      <a:pt x="35" y="151"/>
                    </a:lnTo>
                    <a:lnTo>
                      <a:pt x="35" y="151"/>
                    </a:lnTo>
                    <a:lnTo>
                      <a:pt x="35" y="142"/>
                    </a:lnTo>
                    <a:lnTo>
                      <a:pt x="35" y="133"/>
                    </a:lnTo>
                    <a:lnTo>
                      <a:pt x="35" y="133"/>
                    </a:lnTo>
                    <a:lnTo>
                      <a:pt x="35" y="124"/>
                    </a:lnTo>
                    <a:lnTo>
                      <a:pt x="44" y="124"/>
                    </a:lnTo>
                    <a:lnTo>
                      <a:pt x="44" y="115"/>
                    </a:lnTo>
                    <a:lnTo>
                      <a:pt x="44" y="115"/>
                    </a:lnTo>
                    <a:lnTo>
                      <a:pt x="53" y="107"/>
                    </a:lnTo>
                    <a:lnTo>
                      <a:pt x="61" y="107"/>
                    </a:lnTo>
                    <a:lnTo>
                      <a:pt x="70" y="98"/>
                    </a:lnTo>
                    <a:lnTo>
                      <a:pt x="79" y="89"/>
                    </a:lnTo>
                    <a:lnTo>
                      <a:pt x="79" y="89"/>
                    </a:lnTo>
                    <a:lnTo>
                      <a:pt x="88" y="71"/>
                    </a:lnTo>
                    <a:lnTo>
                      <a:pt x="88" y="71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54"/>
                    </a:lnTo>
                    <a:lnTo>
                      <a:pt x="88" y="45"/>
                    </a:lnTo>
                    <a:lnTo>
                      <a:pt x="88" y="36"/>
                    </a:lnTo>
                    <a:lnTo>
                      <a:pt x="88" y="27"/>
                    </a:lnTo>
                    <a:lnTo>
                      <a:pt x="88" y="9"/>
                    </a:lnTo>
                    <a:lnTo>
                      <a:pt x="88" y="9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105" y="71"/>
                    </a:lnTo>
                    <a:lnTo>
                      <a:pt x="167" y="62"/>
                    </a:lnTo>
                    <a:lnTo>
                      <a:pt x="176" y="107"/>
                    </a:lnTo>
                    <a:lnTo>
                      <a:pt x="176" y="98"/>
                    </a:lnTo>
                    <a:lnTo>
                      <a:pt x="185" y="89"/>
                    </a:lnTo>
                    <a:lnTo>
                      <a:pt x="185" y="89"/>
                    </a:lnTo>
                    <a:lnTo>
                      <a:pt x="193" y="80"/>
                    </a:lnTo>
                    <a:lnTo>
                      <a:pt x="193" y="80"/>
                    </a:lnTo>
                    <a:lnTo>
                      <a:pt x="193" y="71"/>
                    </a:lnTo>
                    <a:lnTo>
                      <a:pt x="202" y="80"/>
                    </a:lnTo>
                    <a:lnTo>
                      <a:pt x="211" y="62"/>
                    </a:lnTo>
                    <a:lnTo>
                      <a:pt x="211" y="62"/>
                    </a:lnTo>
                    <a:lnTo>
                      <a:pt x="211" y="62"/>
                    </a:lnTo>
                    <a:lnTo>
                      <a:pt x="211" y="62"/>
                    </a:lnTo>
                    <a:lnTo>
                      <a:pt x="220" y="62"/>
                    </a:lnTo>
                    <a:lnTo>
                      <a:pt x="228" y="62"/>
                    </a:lnTo>
                    <a:lnTo>
                      <a:pt x="228" y="62"/>
                    </a:lnTo>
                    <a:lnTo>
                      <a:pt x="228" y="54"/>
                    </a:lnTo>
                    <a:lnTo>
                      <a:pt x="237" y="54"/>
                    </a:lnTo>
                    <a:lnTo>
                      <a:pt x="237" y="54"/>
                    </a:lnTo>
                    <a:lnTo>
                      <a:pt x="246" y="45"/>
                    </a:lnTo>
                    <a:lnTo>
                      <a:pt x="246" y="54"/>
                    </a:lnTo>
                    <a:lnTo>
                      <a:pt x="255" y="54"/>
                    </a:lnTo>
                    <a:lnTo>
                      <a:pt x="264" y="54"/>
                    </a:lnTo>
                    <a:lnTo>
                      <a:pt x="264" y="54"/>
                    </a:lnTo>
                    <a:lnTo>
                      <a:pt x="264" y="62"/>
                    </a:lnTo>
                    <a:lnTo>
                      <a:pt x="272" y="62"/>
                    </a:lnTo>
                    <a:lnTo>
                      <a:pt x="272" y="62"/>
                    </a:lnTo>
                    <a:lnTo>
                      <a:pt x="272" y="71"/>
                    </a:lnTo>
                    <a:lnTo>
                      <a:pt x="272" y="71"/>
                    </a:lnTo>
                    <a:lnTo>
                      <a:pt x="272" y="80"/>
                    </a:lnTo>
                    <a:lnTo>
                      <a:pt x="272" y="89"/>
                    </a:lnTo>
                    <a:lnTo>
                      <a:pt x="237" y="71"/>
                    </a:lnTo>
                    <a:lnTo>
                      <a:pt x="237" y="71"/>
                    </a:lnTo>
                    <a:lnTo>
                      <a:pt x="237" y="80"/>
                    </a:lnTo>
                    <a:lnTo>
                      <a:pt x="237" y="80"/>
                    </a:lnTo>
                    <a:lnTo>
                      <a:pt x="237" y="98"/>
                    </a:lnTo>
                    <a:lnTo>
                      <a:pt x="228" y="98"/>
                    </a:lnTo>
                    <a:lnTo>
                      <a:pt x="228" y="107"/>
                    </a:lnTo>
                    <a:lnTo>
                      <a:pt x="228" y="115"/>
                    </a:lnTo>
                    <a:lnTo>
                      <a:pt x="220" y="115"/>
                    </a:lnTo>
                    <a:lnTo>
                      <a:pt x="220" y="124"/>
                    </a:lnTo>
                    <a:lnTo>
                      <a:pt x="211" y="124"/>
                    </a:lnTo>
                    <a:lnTo>
                      <a:pt x="202" y="124"/>
                    </a:lnTo>
                    <a:lnTo>
                      <a:pt x="202" y="133"/>
                    </a:lnTo>
                    <a:lnTo>
                      <a:pt x="202" y="142"/>
                    </a:lnTo>
                    <a:lnTo>
                      <a:pt x="202" y="142"/>
                    </a:lnTo>
                    <a:lnTo>
                      <a:pt x="202" y="151"/>
                    </a:lnTo>
                    <a:lnTo>
                      <a:pt x="193" y="160"/>
                    </a:lnTo>
                    <a:lnTo>
                      <a:pt x="193" y="160"/>
                    </a:lnTo>
                    <a:lnTo>
                      <a:pt x="185" y="160"/>
                    </a:lnTo>
                    <a:lnTo>
                      <a:pt x="185" y="160"/>
                    </a:lnTo>
                    <a:lnTo>
                      <a:pt x="176" y="151"/>
                    </a:lnTo>
                    <a:lnTo>
                      <a:pt x="167" y="151"/>
                    </a:lnTo>
                    <a:lnTo>
                      <a:pt x="167" y="168"/>
                    </a:lnTo>
                    <a:lnTo>
                      <a:pt x="167" y="168"/>
                    </a:lnTo>
                    <a:lnTo>
                      <a:pt x="167" y="168"/>
                    </a:lnTo>
                    <a:lnTo>
                      <a:pt x="167" y="186"/>
                    </a:lnTo>
                    <a:lnTo>
                      <a:pt x="158" y="186"/>
                    </a:lnTo>
                    <a:lnTo>
                      <a:pt x="158" y="195"/>
                    </a:lnTo>
                    <a:lnTo>
                      <a:pt x="158" y="204"/>
                    </a:lnTo>
                    <a:lnTo>
                      <a:pt x="149" y="213"/>
                    </a:lnTo>
                    <a:lnTo>
                      <a:pt x="149" y="222"/>
                    </a:lnTo>
                    <a:lnTo>
                      <a:pt x="149" y="230"/>
                    </a:lnTo>
                    <a:lnTo>
                      <a:pt x="149" y="230"/>
                    </a:lnTo>
                    <a:lnTo>
                      <a:pt x="149" y="239"/>
                    </a:lnTo>
                    <a:lnTo>
                      <a:pt x="149" y="248"/>
                    </a:lnTo>
                    <a:lnTo>
                      <a:pt x="149" y="248"/>
                    </a:lnTo>
                    <a:lnTo>
                      <a:pt x="141" y="248"/>
                    </a:lnTo>
                    <a:lnTo>
                      <a:pt x="132" y="248"/>
                    </a:lnTo>
                    <a:lnTo>
                      <a:pt x="123" y="257"/>
                    </a:lnTo>
                    <a:lnTo>
                      <a:pt x="114" y="257"/>
                    </a:lnTo>
                    <a:lnTo>
                      <a:pt x="114" y="266"/>
                    </a:lnTo>
                    <a:lnTo>
                      <a:pt x="114" y="266"/>
                    </a:lnTo>
                    <a:lnTo>
                      <a:pt x="105" y="266"/>
                    </a:lnTo>
                    <a:lnTo>
                      <a:pt x="97" y="275"/>
                    </a:lnTo>
                    <a:lnTo>
                      <a:pt x="88" y="275"/>
                    </a:lnTo>
                    <a:lnTo>
                      <a:pt x="88" y="266"/>
                    </a:lnTo>
                    <a:lnTo>
                      <a:pt x="79" y="275"/>
                    </a:lnTo>
                    <a:lnTo>
                      <a:pt x="70" y="283"/>
                    </a:lnTo>
                    <a:lnTo>
                      <a:pt x="61" y="283"/>
                    </a:lnTo>
                    <a:lnTo>
                      <a:pt x="53" y="275"/>
                    </a:lnTo>
                    <a:lnTo>
                      <a:pt x="53" y="266"/>
                    </a:lnTo>
                    <a:lnTo>
                      <a:pt x="44" y="266"/>
                    </a:lnTo>
                    <a:lnTo>
                      <a:pt x="44" y="257"/>
                    </a:lnTo>
                    <a:lnTo>
                      <a:pt x="35" y="257"/>
                    </a:lnTo>
                    <a:lnTo>
                      <a:pt x="26" y="248"/>
                    </a:lnTo>
                    <a:lnTo>
                      <a:pt x="17" y="239"/>
                    </a:lnTo>
                    <a:lnTo>
                      <a:pt x="9" y="230"/>
                    </a:lnTo>
                    <a:lnTo>
                      <a:pt x="9" y="230"/>
                    </a:lnTo>
                    <a:lnTo>
                      <a:pt x="0" y="213"/>
                    </a:lnTo>
                    <a:lnTo>
                      <a:pt x="0" y="204"/>
                    </a:lnTo>
                    <a:lnTo>
                      <a:pt x="0" y="204"/>
                    </a:lnTo>
                    <a:lnTo>
                      <a:pt x="0" y="195"/>
                    </a:lnTo>
                    <a:lnTo>
                      <a:pt x="0" y="195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26" name="Freeform 19"/>
              <p:cNvSpPr>
                <a:spLocks/>
              </p:cNvSpPr>
              <p:nvPr/>
            </p:nvSpPr>
            <p:spPr bwMode="auto">
              <a:xfrm>
                <a:off x="4081930" y="2662340"/>
                <a:ext cx="649350" cy="367607"/>
              </a:xfrm>
              <a:custGeom>
                <a:avLst/>
                <a:gdLst/>
                <a:ahLst/>
                <a:cxnLst>
                  <a:cxn ang="0">
                    <a:pos x="26" y="265"/>
                  </a:cxn>
                  <a:cxn ang="0">
                    <a:pos x="44" y="248"/>
                  </a:cxn>
                  <a:cxn ang="0">
                    <a:pos x="62" y="230"/>
                  </a:cxn>
                  <a:cxn ang="0">
                    <a:pos x="97" y="195"/>
                  </a:cxn>
                  <a:cxn ang="0">
                    <a:pos x="123" y="212"/>
                  </a:cxn>
                  <a:cxn ang="0">
                    <a:pos x="150" y="204"/>
                  </a:cxn>
                  <a:cxn ang="0">
                    <a:pos x="167" y="186"/>
                  </a:cxn>
                  <a:cxn ang="0">
                    <a:pos x="202" y="177"/>
                  </a:cxn>
                  <a:cxn ang="0">
                    <a:pos x="202" y="159"/>
                  </a:cxn>
                  <a:cxn ang="0">
                    <a:pos x="211" y="124"/>
                  </a:cxn>
                  <a:cxn ang="0">
                    <a:pos x="220" y="97"/>
                  </a:cxn>
                  <a:cxn ang="0">
                    <a:pos x="238" y="89"/>
                  </a:cxn>
                  <a:cxn ang="0">
                    <a:pos x="255" y="80"/>
                  </a:cxn>
                  <a:cxn ang="0">
                    <a:pos x="255" y="53"/>
                  </a:cxn>
                  <a:cxn ang="0">
                    <a:pos x="281" y="44"/>
                  </a:cxn>
                  <a:cxn ang="0">
                    <a:pos x="290" y="9"/>
                  </a:cxn>
                  <a:cxn ang="0">
                    <a:pos x="325" y="18"/>
                  </a:cxn>
                  <a:cxn ang="0">
                    <a:pos x="343" y="0"/>
                  </a:cxn>
                  <a:cxn ang="0">
                    <a:pos x="352" y="18"/>
                  </a:cxn>
                  <a:cxn ang="0">
                    <a:pos x="378" y="27"/>
                  </a:cxn>
                  <a:cxn ang="0">
                    <a:pos x="369" y="44"/>
                  </a:cxn>
                  <a:cxn ang="0">
                    <a:pos x="369" y="44"/>
                  </a:cxn>
                  <a:cxn ang="0">
                    <a:pos x="369" y="71"/>
                  </a:cxn>
                  <a:cxn ang="0">
                    <a:pos x="387" y="71"/>
                  </a:cxn>
                  <a:cxn ang="0">
                    <a:pos x="405" y="80"/>
                  </a:cxn>
                  <a:cxn ang="0">
                    <a:pos x="422" y="89"/>
                  </a:cxn>
                  <a:cxn ang="0">
                    <a:pos x="431" y="89"/>
                  </a:cxn>
                  <a:cxn ang="0">
                    <a:pos x="440" y="106"/>
                  </a:cxn>
                  <a:cxn ang="0">
                    <a:pos x="431" y="115"/>
                  </a:cxn>
                  <a:cxn ang="0">
                    <a:pos x="405" y="97"/>
                  </a:cxn>
                  <a:cxn ang="0">
                    <a:pos x="387" y="89"/>
                  </a:cxn>
                  <a:cxn ang="0">
                    <a:pos x="396" y="97"/>
                  </a:cxn>
                  <a:cxn ang="0">
                    <a:pos x="422" y="115"/>
                  </a:cxn>
                  <a:cxn ang="0">
                    <a:pos x="440" y="124"/>
                  </a:cxn>
                  <a:cxn ang="0">
                    <a:pos x="449" y="133"/>
                  </a:cxn>
                  <a:cxn ang="0">
                    <a:pos x="440" y="133"/>
                  </a:cxn>
                  <a:cxn ang="0">
                    <a:pos x="422" y="133"/>
                  </a:cxn>
                  <a:cxn ang="0">
                    <a:pos x="440" y="151"/>
                  </a:cxn>
                  <a:cxn ang="0">
                    <a:pos x="449" y="159"/>
                  </a:cxn>
                  <a:cxn ang="0">
                    <a:pos x="440" y="159"/>
                  </a:cxn>
                  <a:cxn ang="0">
                    <a:pos x="422" y="159"/>
                  </a:cxn>
                  <a:cxn ang="0">
                    <a:pos x="405" y="151"/>
                  </a:cxn>
                  <a:cxn ang="0">
                    <a:pos x="387" y="151"/>
                  </a:cxn>
                  <a:cxn ang="0">
                    <a:pos x="422" y="159"/>
                  </a:cxn>
                  <a:cxn ang="0">
                    <a:pos x="431" y="168"/>
                  </a:cxn>
                  <a:cxn ang="0">
                    <a:pos x="449" y="177"/>
                  </a:cxn>
                  <a:cxn ang="0">
                    <a:pos x="457" y="168"/>
                  </a:cxn>
                  <a:cxn ang="0">
                    <a:pos x="484" y="195"/>
                  </a:cxn>
                  <a:cxn ang="0">
                    <a:pos x="475" y="195"/>
                  </a:cxn>
                  <a:cxn ang="0">
                    <a:pos x="475" y="195"/>
                  </a:cxn>
                  <a:cxn ang="0">
                    <a:pos x="158" y="257"/>
                  </a:cxn>
                  <a:cxn ang="0">
                    <a:pos x="106" y="265"/>
                  </a:cxn>
                  <a:cxn ang="0">
                    <a:pos x="0" y="274"/>
                  </a:cxn>
                </a:cxnLst>
                <a:rect l="0" t="0" r="r" b="b"/>
                <a:pathLst>
                  <a:path w="484" h="274">
                    <a:moveTo>
                      <a:pt x="0" y="274"/>
                    </a:moveTo>
                    <a:lnTo>
                      <a:pt x="18" y="274"/>
                    </a:lnTo>
                    <a:lnTo>
                      <a:pt x="18" y="265"/>
                    </a:lnTo>
                    <a:lnTo>
                      <a:pt x="26" y="265"/>
                    </a:lnTo>
                    <a:lnTo>
                      <a:pt x="35" y="257"/>
                    </a:lnTo>
                    <a:lnTo>
                      <a:pt x="35" y="257"/>
                    </a:lnTo>
                    <a:lnTo>
                      <a:pt x="44" y="248"/>
                    </a:lnTo>
                    <a:lnTo>
                      <a:pt x="44" y="248"/>
                    </a:lnTo>
                    <a:lnTo>
                      <a:pt x="53" y="248"/>
                    </a:lnTo>
                    <a:lnTo>
                      <a:pt x="53" y="239"/>
                    </a:lnTo>
                    <a:lnTo>
                      <a:pt x="62" y="239"/>
                    </a:lnTo>
                    <a:lnTo>
                      <a:pt x="62" y="230"/>
                    </a:lnTo>
                    <a:lnTo>
                      <a:pt x="62" y="221"/>
                    </a:lnTo>
                    <a:lnTo>
                      <a:pt x="79" y="212"/>
                    </a:lnTo>
                    <a:lnTo>
                      <a:pt x="97" y="186"/>
                    </a:lnTo>
                    <a:lnTo>
                      <a:pt x="97" y="195"/>
                    </a:lnTo>
                    <a:lnTo>
                      <a:pt x="106" y="195"/>
                    </a:lnTo>
                    <a:lnTo>
                      <a:pt x="106" y="204"/>
                    </a:lnTo>
                    <a:lnTo>
                      <a:pt x="114" y="212"/>
                    </a:lnTo>
                    <a:lnTo>
                      <a:pt x="123" y="212"/>
                    </a:lnTo>
                    <a:lnTo>
                      <a:pt x="132" y="204"/>
                    </a:lnTo>
                    <a:lnTo>
                      <a:pt x="141" y="195"/>
                    </a:lnTo>
                    <a:lnTo>
                      <a:pt x="141" y="204"/>
                    </a:lnTo>
                    <a:lnTo>
                      <a:pt x="150" y="204"/>
                    </a:lnTo>
                    <a:lnTo>
                      <a:pt x="158" y="195"/>
                    </a:lnTo>
                    <a:lnTo>
                      <a:pt x="167" y="195"/>
                    </a:lnTo>
                    <a:lnTo>
                      <a:pt x="167" y="195"/>
                    </a:lnTo>
                    <a:lnTo>
                      <a:pt x="167" y="186"/>
                    </a:lnTo>
                    <a:lnTo>
                      <a:pt x="176" y="186"/>
                    </a:lnTo>
                    <a:lnTo>
                      <a:pt x="185" y="177"/>
                    </a:lnTo>
                    <a:lnTo>
                      <a:pt x="194" y="177"/>
                    </a:lnTo>
                    <a:lnTo>
                      <a:pt x="202" y="177"/>
                    </a:lnTo>
                    <a:lnTo>
                      <a:pt x="202" y="177"/>
                    </a:lnTo>
                    <a:lnTo>
                      <a:pt x="202" y="168"/>
                    </a:lnTo>
                    <a:lnTo>
                      <a:pt x="202" y="159"/>
                    </a:lnTo>
                    <a:lnTo>
                      <a:pt x="202" y="159"/>
                    </a:lnTo>
                    <a:lnTo>
                      <a:pt x="202" y="151"/>
                    </a:lnTo>
                    <a:lnTo>
                      <a:pt x="202" y="142"/>
                    </a:lnTo>
                    <a:lnTo>
                      <a:pt x="211" y="133"/>
                    </a:lnTo>
                    <a:lnTo>
                      <a:pt x="211" y="124"/>
                    </a:lnTo>
                    <a:lnTo>
                      <a:pt x="211" y="115"/>
                    </a:lnTo>
                    <a:lnTo>
                      <a:pt x="220" y="115"/>
                    </a:lnTo>
                    <a:lnTo>
                      <a:pt x="220" y="97"/>
                    </a:lnTo>
                    <a:lnTo>
                      <a:pt x="220" y="97"/>
                    </a:lnTo>
                    <a:lnTo>
                      <a:pt x="220" y="97"/>
                    </a:lnTo>
                    <a:lnTo>
                      <a:pt x="220" y="80"/>
                    </a:lnTo>
                    <a:lnTo>
                      <a:pt x="229" y="80"/>
                    </a:lnTo>
                    <a:lnTo>
                      <a:pt x="238" y="89"/>
                    </a:lnTo>
                    <a:lnTo>
                      <a:pt x="238" y="89"/>
                    </a:lnTo>
                    <a:lnTo>
                      <a:pt x="246" y="89"/>
                    </a:lnTo>
                    <a:lnTo>
                      <a:pt x="246" y="89"/>
                    </a:lnTo>
                    <a:lnTo>
                      <a:pt x="255" y="80"/>
                    </a:lnTo>
                    <a:lnTo>
                      <a:pt x="255" y="71"/>
                    </a:lnTo>
                    <a:lnTo>
                      <a:pt x="255" y="71"/>
                    </a:lnTo>
                    <a:lnTo>
                      <a:pt x="255" y="62"/>
                    </a:lnTo>
                    <a:lnTo>
                      <a:pt x="255" y="53"/>
                    </a:lnTo>
                    <a:lnTo>
                      <a:pt x="264" y="53"/>
                    </a:lnTo>
                    <a:lnTo>
                      <a:pt x="273" y="53"/>
                    </a:lnTo>
                    <a:lnTo>
                      <a:pt x="273" y="44"/>
                    </a:lnTo>
                    <a:lnTo>
                      <a:pt x="281" y="44"/>
                    </a:lnTo>
                    <a:lnTo>
                      <a:pt x="281" y="36"/>
                    </a:lnTo>
                    <a:lnTo>
                      <a:pt x="281" y="27"/>
                    </a:lnTo>
                    <a:lnTo>
                      <a:pt x="290" y="27"/>
                    </a:lnTo>
                    <a:lnTo>
                      <a:pt x="290" y="9"/>
                    </a:lnTo>
                    <a:lnTo>
                      <a:pt x="290" y="9"/>
                    </a:lnTo>
                    <a:lnTo>
                      <a:pt x="290" y="0"/>
                    </a:lnTo>
                    <a:lnTo>
                      <a:pt x="290" y="0"/>
                    </a:lnTo>
                    <a:lnTo>
                      <a:pt x="325" y="18"/>
                    </a:lnTo>
                    <a:lnTo>
                      <a:pt x="325" y="9"/>
                    </a:lnTo>
                    <a:lnTo>
                      <a:pt x="325" y="0"/>
                    </a:lnTo>
                    <a:lnTo>
                      <a:pt x="334" y="0"/>
                    </a:lnTo>
                    <a:lnTo>
                      <a:pt x="343" y="0"/>
                    </a:lnTo>
                    <a:lnTo>
                      <a:pt x="343" y="9"/>
                    </a:lnTo>
                    <a:lnTo>
                      <a:pt x="343" y="18"/>
                    </a:lnTo>
                    <a:lnTo>
                      <a:pt x="352" y="18"/>
                    </a:lnTo>
                    <a:lnTo>
                      <a:pt x="352" y="18"/>
                    </a:lnTo>
                    <a:lnTo>
                      <a:pt x="361" y="18"/>
                    </a:lnTo>
                    <a:lnTo>
                      <a:pt x="369" y="27"/>
                    </a:lnTo>
                    <a:lnTo>
                      <a:pt x="369" y="27"/>
                    </a:lnTo>
                    <a:lnTo>
                      <a:pt x="378" y="27"/>
                    </a:lnTo>
                    <a:lnTo>
                      <a:pt x="378" y="36"/>
                    </a:lnTo>
                    <a:lnTo>
                      <a:pt x="378" y="36"/>
                    </a:lnTo>
                    <a:lnTo>
                      <a:pt x="378" y="36"/>
                    </a:lnTo>
                    <a:lnTo>
                      <a:pt x="369" y="44"/>
                    </a:lnTo>
                    <a:lnTo>
                      <a:pt x="378" y="44"/>
                    </a:lnTo>
                    <a:lnTo>
                      <a:pt x="369" y="53"/>
                    </a:lnTo>
                    <a:lnTo>
                      <a:pt x="369" y="53"/>
                    </a:lnTo>
                    <a:lnTo>
                      <a:pt x="369" y="44"/>
                    </a:lnTo>
                    <a:lnTo>
                      <a:pt x="369" y="62"/>
                    </a:lnTo>
                    <a:lnTo>
                      <a:pt x="369" y="71"/>
                    </a:lnTo>
                    <a:lnTo>
                      <a:pt x="369" y="71"/>
                    </a:lnTo>
                    <a:lnTo>
                      <a:pt x="369" y="71"/>
                    </a:lnTo>
                    <a:lnTo>
                      <a:pt x="369" y="71"/>
                    </a:lnTo>
                    <a:lnTo>
                      <a:pt x="378" y="71"/>
                    </a:lnTo>
                    <a:lnTo>
                      <a:pt x="378" y="71"/>
                    </a:lnTo>
                    <a:lnTo>
                      <a:pt x="387" y="71"/>
                    </a:lnTo>
                    <a:lnTo>
                      <a:pt x="387" y="71"/>
                    </a:lnTo>
                    <a:lnTo>
                      <a:pt x="396" y="80"/>
                    </a:lnTo>
                    <a:lnTo>
                      <a:pt x="396" y="80"/>
                    </a:lnTo>
                    <a:lnTo>
                      <a:pt x="405" y="80"/>
                    </a:lnTo>
                    <a:lnTo>
                      <a:pt x="405" y="80"/>
                    </a:lnTo>
                    <a:lnTo>
                      <a:pt x="413" y="80"/>
                    </a:lnTo>
                    <a:lnTo>
                      <a:pt x="413" y="80"/>
                    </a:lnTo>
                    <a:lnTo>
                      <a:pt x="422" y="89"/>
                    </a:lnTo>
                    <a:lnTo>
                      <a:pt x="422" y="89"/>
                    </a:lnTo>
                    <a:lnTo>
                      <a:pt x="422" y="89"/>
                    </a:lnTo>
                    <a:lnTo>
                      <a:pt x="422" y="89"/>
                    </a:lnTo>
                    <a:lnTo>
                      <a:pt x="431" y="89"/>
                    </a:lnTo>
                    <a:lnTo>
                      <a:pt x="440" y="97"/>
                    </a:lnTo>
                    <a:lnTo>
                      <a:pt x="440" y="97"/>
                    </a:lnTo>
                    <a:lnTo>
                      <a:pt x="440" y="97"/>
                    </a:lnTo>
                    <a:lnTo>
                      <a:pt x="440" y="106"/>
                    </a:lnTo>
                    <a:lnTo>
                      <a:pt x="440" y="106"/>
                    </a:lnTo>
                    <a:lnTo>
                      <a:pt x="440" y="115"/>
                    </a:lnTo>
                    <a:lnTo>
                      <a:pt x="431" y="115"/>
                    </a:lnTo>
                    <a:lnTo>
                      <a:pt x="431" y="115"/>
                    </a:lnTo>
                    <a:lnTo>
                      <a:pt x="422" y="115"/>
                    </a:lnTo>
                    <a:lnTo>
                      <a:pt x="413" y="106"/>
                    </a:lnTo>
                    <a:lnTo>
                      <a:pt x="413" y="106"/>
                    </a:lnTo>
                    <a:lnTo>
                      <a:pt x="405" y="97"/>
                    </a:lnTo>
                    <a:lnTo>
                      <a:pt x="405" y="97"/>
                    </a:lnTo>
                    <a:lnTo>
                      <a:pt x="396" y="89"/>
                    </a:lnTo>
                    <a:lnTo>
                      <a:pt x="396" y="89"/>
                    </a:lnTo>
                    <a:lnTo>
                      <a:pt x="387" y="89"/>
                    </a:lnTo>
                    <a:lnTo>
                      <a:pt x="378" y="89"/>
                    </a:lnTo>
                    <a:lnTo>
                      <a:pt x="387" y="89"/>
                    </a:lnTo>
                    <a:lnTo>
                      <a:pt x="396" y="89"/>
                    </a:lnTo>
                    <a:lnTo>
                      <a:pt x="396" y="97"/>
                    </a:lnTo>
                    <a:lnTo>
                      <a:pt x="405" y="97"/>
                    </a:lnTo>
                    <a:lnTo>
                      <a:pt x="405" y="106"/>
                    </a:lnTo>
                    <a:lnTo>
                      <a:pt x="413" y="106"/>
                    </a:lnTo>
                    <a:lnTo>
                      <a:pt x="422" y="115"/>
                    </a:lnTo>
                    <a:lnTo>
                      <a:pt x="422" y="115"/>
                    </a:lnTo>
                    <a:lnTo>
                      <a:pt x="431" y="115"/>
                    </a:lnTo>
                    <a:lnTo>
                      <a:pt x="431" y="115"/>
                    </a:lnTo>
                    <a:lnTo>
                      <a:pt x="440" y="124"/>
                    </a:lnTo>
                    <a:lnTo>
                      <a:pt x="440" y="124"/>
                    </a:lnTo>
                    <a:lnTo>
                      <a:pt x="440" y="124"/>
                    </a:lnTo>
                    <a:lnTo>
                      <a:pt x="449" y="124"/>
                    </a:lnTo>
                    <a:lnTo>
                      <a:pt x="449" y="133"/>
                    </a:lnTo>
                    <a:lnTo>
                      <a:pt x="449" y="142"/>
                    </a:lnTo>
                    <a:lnTo>
                      <a:pt x="440" y="133"/>
                    </a:lnTo>
                    <a:lnTo>
                      <a:pt x="440" y="133"/>
                    </a:lnTo>
                    <a:lnTo>
                      <a:pt x="440" y="133"/>
                    </a:lnTo>
                    <a:lnTo>
                      <a:pt x="440" y="142"/>
                    </a:lnTo>
                    <a:lnTo>
                      <a:pt x="440" y="151"/>
                    </a:lnTo>
                    <a:lnTo>
                      <a:pt x="431" y="142"/>
                    </a:lnTo>
                    <a:lnTo>
                      <a:pt x="422" y="133"/>
                    </a:lnTo>
                    <a:lnTo>
                      <a:pt x="413" y="133"/>
                    </a:lnTo>
                    <a:lnTo>
                      <a:pt x="422" y="142"/>
                    </a:lnTo>
                    <a:lnTo>
                      <a:pt x="431" y="142"/>
                    </a:lnTo>
                    <a:lnTo>
                      <a:pt x="440" y="151"/>
                    </a:lnTo>
                    <a:lnTo>
                      <a:pt x="440" y="151"/>
                    </a:lnTo>
                    <a:lnTo>
                      <a:pt x="449" y="151"/>
                    </a:lnTo>
                    <a:lnTo>
                      <a:pt x="449" y="151"/>
                    </a:lnTo>
                    <a:lnTo>
                      <a:pt x="449" y="159"/>
                    </a:lnTo>
                    <a:lnTo>
                      <a:pt x="449" y="168"/>
                    </a:lnTo>
                    <a:lnTo>
                      <a:pt x="449" y="168"/>
                    </a:lnTo>
                    <a:lnTo>
                      <a:pt x="449" y="168"/>
                    </a:lnTo>
                    <a:lnTo>
                      <a:pt x="440" y="159"/>
                    </a:lnTo>
                    <a:lnTo>
                      <a:pt x="431" y="159"/>
                    </a:lnTo>
                    <a:lnTo>
                      <a:pt x="431" y="159"/>
                    </a:lnTo>
                    <a:lnTo>
                      <a:pt x="422" y="151"/>
                    </a:lnTo>
                    <a:lnTo>
                      <a:pt x="422" y="159"/>
                    </a:lnTo>
                    <a:lnTo>
                      <a:pt x="413" y="151"/>
                    </a:lnTo>
                    <a:lnTo>
                      <a:pt x="413" y="151"/>
                    </a:lnTo>
                    <a:lnTo>
                      <a:pt x="413" y="151"/>
                    </a:lnTo>
                    <a:lnTo>
                      <a:pt x="405" y="151"/>
                    </a:lnTo>
                    <a:lnTo>
                      <a:pt x="405" y="151"/>
                    </a:lnTo>
                    <a:lnTo>
                      <a:pt x="396" y="151"/>
                    </a:lnTo>
                    <a:lnTo>
                      <a:pt x="387" y="151"/>
                    </a:lnTo>
                    <a:lnTo>
                      <a:pt x="387" y="151"/>
                    </a:lnTo>
                    <a:lnTo>
                      <a:pt x="405" y="151"/>
                    </a:lnTo>
                    <a:lnTo>
                      <a:pt x="413" y="159"/>
                    </a:lnTo>
                    <a:lnTo>
                      <a:pt x="413" y="159"/>
                    </a:lnTo>
                    <a:lnTo>
                      <a:pt x="422" y="159"/>
                    </a:lnTo>
                    <a:lnTo>
                      <a:pt x="422" y="159"/>
                    </a:lnTo>
                    <a:lnTo>
                      <a:pt x="431" y="159"/>
                    </a:lnTo>
                    <a:lnTo>
                      <a:pt x="431" y="168"/>
                    </a:lnTo>
                    <a:lnTo>
                      <a:pt x="431" y="168"/>
                    </a:lnTo>
                    <a:lnTo>
                      <a:pt x="440" y="168"/>
                    </a:lnTo>
                    <a:lnTo>
                      <a:pt x="440" y="177"/>
                    </a:lnTo>
                    <a:lnTo>
                      <a:pt x="440" y="177"/>
                    </a:lnTo>
                    <a:lnTo>
                      <a:pt x="449" y="177"/>
                    </a:lnTo>
                    <a:lnTo>
                      <a:pt x="449" y="177"/>
                    </a:lnTo>
                    <a:lnTo>
                      <a:pt x="457" y="177"/>
                    </a:lnTo>
                    <a:lnTo>
                      <a:pt x="449" y="177"/>
                    </a:lnTo>
                    <a:lnTo>
                      <a:pt x="457" y="168"/>
                    </a:lnTo>
                    <a:lnTo>
                      <a:pt x="457" y="168"/>
                    </a:lnTo>
                    <a:lnTo>
                      <a:pt x="475" y="168"/>
                    </a:lnTo>
                    <a:lnTo>
                      <a:pt x="475" y="177"/>
                    </a:lnTo>
                    <a:lnTo>
                      <a:pt x="484" y="195"/>
                    </a:lnTo>
                    <a:lnTo>
                      <a:pt x="484" y="195"/>
                    </a:lnTo>
                    <a:lnTo>
                      <a:pt x="484" y="186"/>
                    </a:lnTo>
                    <a:lnTo>
                      <a:pt x="475" y="186"/>
                    </a:lnTo>
                    <a:lnTo>
                      <a:pt x="475" y="195"/>
                    </a:lnTo>
                    <a:lnTo>
                      <a:pt x="475" y="195"/>
                    </a:lnTo>
                    <a:lnTo>
                      <a:pt x="475" y="195"/>
                    </a:lnTo>
                    <a:lnTo>
                      <a:pt x="475" y="195"/>
                    </a:lnTo>
                    <a:lnTo>
                      <a:pt x="475" y="195"/>
                    </a:lnTo>
                    <a:lnTo>
                      <a:pt x="413" y="212"/>
                    </a:lnTo>
                    <a:lnTo>
                      <a:pt x="343" y="221"/>
                    </a:lnTo>
                    <a:lnTo>
                      <a:pt x="211" y="248"/>
                    </a:lnTo>
                    <a:lnTo>
                      <a:pt x="158" y="257"/>
                    </a:lnTo>
                    <a:lnTo>
                      <a:pt x="141" y="257"/>
                    </a:lnTo>
                    <a:lnTo>
                      <a:pt x="132" y="257"/>
                    </a:lnTo>
                    <a:lnTo>
                      <a:pt x="123" y="257"/>
                    </a:lnTo>
                    <a:lnTo>
                      <a:pt x="106" y="265"/>
                    </a:lnTo>
                    <a:lnTo>
                      <a:pt x="79" y="265"/>
                    </a:lnTo>
                    <a:lnTo>
                      <a:pt x="35" y="274"/>
                    </a:lnTo>
                    <a:lnTo>
                      <a:pt x="26" y="274"/>
                    </a:lnTo>
                    <a:lnTo>
                      <a:pt x="0" y="274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27" name="Freeform 23"/>
              <p:cNvSpPr>
                <a:spLocks/>
              </p:cNvSpPr>
              <p:nvPr/>
            </p:nvSpPr>
            <p:spPr bwMode="auto">
              <a:xfrm>
                <a:off x="4719206" y="1963350"/>
                <a:ext cx="142213" cy="260277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18" y="17"/>
                  </a:cxn>
                  <a:cxn ang="0">
                    <a:pos x="97" y="0"/>
                  </a:cxn>
                  <a:cxn ang="0">
                    <a:pos x="97" y="0"/>
                  </a:cxn>
                  <a:cxn ang="0">
                    <a:pos x="106" y="8"/>
                  </a:cxn>
                  <a:cxn ang="0">
                    <a:pos x="97" y="17"/>
                  </a:cxn>
                  <a:cxn ang="0">
                    <a:pos x="97" y="26"/>
                  </a:cxn>
                  <a:cxn ang="0">
                    <a:pos x="106" y="26"/>
                  </a:cxn>
                  <a:cxn ang="0">
                    <a:pos x="106" y="35"/>
                  </a:cxn>
                  <a:cxn ang="0">
                    <a:pos x="106" y="35"/>
                  </a:cxn>
                  <a:cxn ang="0">
                    <a:pos x="106" y="44"/>
                  </a:cxn>
                  <a:cxn ang="0">
                    <a:pos x="97" y="53"/>
                  </a:cxn>
                  <a:cxn ang="0">
                    <a:pos x="88" y="53"/>
                  </a:cxn>
                  <a:cxn ang="0">
                    <a:pos x="88" y="61"/>
                  </a:cxn>
                  <a:cxn ang="0">
                    <a:pos x="88" y="70"/>
                  </a:cxn>
                  <a:cxn ang="0">
                    <a:pos x="88" y="79"/>
                  </a:cxn>
                  <a:cxn ang="0">
                    <a:pos x="88" y="88"/>
                  </a:cxn>
                  <a:cxn ang="0">
                    <a:pos x="88" y="88"/>
                  </a:cxn>
                  <a:cxn ang="0">
                    <a:pos x="88" y="97"/>
                  </a:cxn>
                  <a:cxn ang="0">
                    <a:pos x="88" y="97"/>
                  </a:cxn>
                  <a:cxn ang="0">
                    <a:pos x="88" y="106"/>
                  </a:cxn>
                  <a:cxn ang="0">
                    <a:pos x="79" y="114"/>
                  </a:cxn>
                  <a:cxn ang="0">
                    <a:pos x="88" y="114"/>
                  </a:cxn>
                  <a:cxn ang="0">
                    <a:pos x="79" y="123"/>
                  </a:cxn>
                  <a:cxn ang="0">
                    <a:pos x="88" y="141"/>
                  </a:cxn>
                  <a:cxn ang="0">
                    <a:pos x="88" y="150"/>
                  </a:cxn>
                  <a:cxn ang="0">
                    <a:pos x="88" y="168"/>
                  </a:cxn>
                  <a:cxn ang="0">
                    <a:pos x="88" y="168"/>
                  </a:cxn>
                  <a:cxn ang="0">
                    <a:pos x="88" y="176"/>
                  </a:cxn>
                  <a:cxn ang="0">
                    <a:pos x="88" y="185"/>
                  </a:cxn>
                  <a:cxn ang="0">
                    <a:pos x="97" y="185"/>
                  </a:cxn>
                  <a:cxn ang="0">
                    <a:pos x="53" y="194"/>
                  </a:cxn>
                  <a:cxn ang="0">
                    <a:pos x="44" y="194"/>
                  </a:cxn>
                  <a:cxn ang="0">
                    <a:pos x="44" y="185"/>
                  </a:cxn>
                  <a:cxn ang="0">
                    <a:pos x="35" y="141"/>
                  </a:cxn>
                  <a:cxn ang="0">
                    <a:pos x="26" y="132"/>
                  </a:cxn>
                  <a:cxn ang="0">
                    <a:pos x="26" y="141"/>
                  </a:cxn>
                  <a:cxn ang="0">
                    <a:pos x="26" y="132"/>
                  </a:cxn>
                  <a:cxn ang="0">
                    <a:pos x="26" y="123"/>
                  </a:cxn>
                  <a:cxn ang="0">
                    <a:pos x="18" y="114"/>
                  </a:cxn>
                  <a:cxn ang="0">
                    <a:pos x="18" y="106"/>
                  </a:cxn>
                  <a:cxn ang="0">
                    <a:pos x="18" y="97"/>
                  </a:cxn>
                  <a:cxn ang="0">
                    <a:pos x="18" y="88"/>
                  </a:cxn>
                  <a:cxn ang="0">
                    <a:pos x="18" y="88"/>
                  </a:cxn>
                  <a:cxn ang="0">
                    <a:pos x="18" y="79"/>
                  </a:cxn>
                  <a:cxn ang="0">
                    <a:pos x="18" y="70"/>
                  </a:cxn>
                  <a:cxn ang="0">
                    <a:pos x="18" y="70"/>
                  </a:cxn>
                  <a:cxn ang="0">
                    <a:pos x="18" y="61"/>
                  </a:cxn>
                  <a:cxn ang="0">
                    <a:pos x="9" y="61"/>
                  </a:cxn>
                  <a:cxn ang="0">
                    <a:pos x="9" y="53"/>
                  </a:cxn>
                  <a:cxn ang="0">
                    <a:pos x="9" y="44"/>
                  </a:cxn>
                  <a:cxn ang="0">
                    <a:pos x="0" y="35"/>
                  </a:cxn>
                  <a:cxn ang="0">
                    <a:pos x="0" y="35"/>
                  </a:cxn>
                  <a:cxn ang="0">
                    <a:pos x="0" y="26"/>
                  </a:cxn>
                  <a:cxn ang="0">
                    <a:pos x="0" y="26"/>
                  </a:cxn>
                </a:cxnLst>
                <a:rect l="0" t="0" r="r" b="b"/>
                <a:pathLst>
                  <a:path w="106" h="194">
                    <a:moveTo>
                      <a:pt x="0" y="26"/>
                    </a:moveTo>
                    <a:lnTo>
                      <a:pt x="18" y="17"/>
                    </a:lnTo>
                    <a:lnTo>
                      <a:pt x="97" y="0"/>
                    </a:lnTo>
                    <a:lnTo>
                      <a:pt x="97" y="0"/>
                    </a:lnTo>
                    <a:lnTo>
                      <a:pt x="106" y="8"/>
                    </a:lnTo>
                    <a:lnTo>
                      <a:pt x="97" y="17"/>
                    </a:lnTo>
                    <a:lnTo>
                      <a:pt x="97" y="26"/>
                    </a:lnTo>
                    <a:lnTo>
                      <a:pt x="106" y="26"/>
                    </a:lnTo>
                    <a:lnTo>
                      <a:pt x="106" y="35"/>
                    </a:lnTo>
                    <a:lnTo>
                      <a:pt x="106" y="35"/>
                    </a:lnTo>
                    <a:lnTo>
                      <a:pt x="106" y="44"/>
                    </a:lnTo>
                    <a:lnTo>
                      <a:pt x="97" y="53"/>
                    </a:lnTo>
                    <a:lnTo>
                      <a:pt x="88" y="53"/>
                    </a:lnTo>
                    <a:lnTo>
                      <a:pt x="88" y="61"/>
                    </a:lnTo>
                    <a:lnTo>
                      <a:pt x="88" y="70"/>
                    </a:lnTo>
                    <a:lnTo>
                      <a:pt x="88" y="79"/>
                    </a:lnTo>
                    <a:lnTo>
                      <a:pt x="88" y="88"/>
                    </a:lnTo>
                    <a:lnTo>
                      <a:pt x="88" y="88"/>
                    </a:lnTo>
                    <a:lnTo>
                      <a:pt x="88" y="97"/>
                    </a:lnTo>
                    <a:lnTo>
                      <a:pt x="88" y="97"/>
                    </a:lnTo>
                    <a:lnTo>
                      <a:pt x="88" y="106"/>
                    </a:lnTo>
                    <a:lnTo>
                      <a:pt x="79" y="114"/>
                    </a:lnTo>
                    <a:lnTo>
                      <a:pt x="88" y="114"/>
                    </a:lnTo>
                    <a:lnTo>
                      <a:pt x="79" y="123"/>
                    </a:lnTo>
                    <a:lnTo>
                      <a:pt x="88" y="141"/>
                    </a:lnTo>
                    <a:lnTo>
                      <a:pt x="88" y="150"/>
                    </a:lnTo>
                    <a:lnTo>
                      <a:pt x="88" y="168"/>
                    </a:lnTo>
                    <a:lnTo>
                      <a:pt x="88" y="168"/>
                    </a:lnTo>
                    <a:lnTo>
                      <a:pt x="88" y="176"/>
                    </a:lnTo>
                    <a:lnTo>
                      <a:pt x="88" y="185"/>
                    </a:lnTo>
                    <a:lnTo>
                      <a:pt x="97" y="185"/>
                    </a:lnTo>
                    <a:lnTo>
                      <a:pt x="53" y="194"/>
                    </a:lnTo>
                    <a:lnTo>
                      <a:pt x="44" y="194"/>
                    </a:lnTo>
                    <a:lnTo>
                      <a:pt x="44" y="185"/>
                    </a:lnTo>
                    <a:lnTo>
                      <a:pt x="35" y="141"/>
                    </a:lnTo>
                    <a:lnTo>
                      <a:pt x="26" y="132"/>
                    </a:lnTo>
                    <a:lnTo>
                      <a:pt x="26" y="141"/>
                    </a:lnTo>
                    <a:lnTo>
                      <a:pt x="26" y="132"/>
                    </a:lnTo>
                    <a:lnTo>
                      <a:pt x="26" y="123"/>
                    </a:lnTo>
                    <a:lnTo>
                      <a:pt x="18" y="114"/>
                    </a:lnTo>
                    <a:lnTo>
                      <a:pt x="18" y="106"/>
                    </a:lnTo>
                    <a:lnTo>
                      <a:pt x="18" y="97"/>
                    </a:lnTo>
                    <a:lnTo>
                      <a:pt x="18" y="88"/>
                    </a:lnTo>
                    <a:lnTo>
                      <a:pt x="18" y="88"/>
                    </a:lnTo>
                    <a:lnTo>
                      <a:pt x="18" y="79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1"/>
                    </a:lnTo>
                    <a:lnTo>
                      <a:pt x="9" y="61"/>
                    </a:lnTo>
                    <a:lnTo>
                      <a:pt x="9" y="53"/>
                    </a:lnTo>
                    <a:lnTo>
                      <a:pt x="9" y="44"/>
                    </a:lnTo>
                    <a:lnTo>
                      <a:pt x="0" y="35"/>
                    </a:lnTo>
                    <a:lnTo>
                      <a:pt x="0" y="35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28" name="Freeform 25"/>
              <p:cNvSpPr>
                <a:spLocks/>
              </p:cNvSpPr>
              <p:nvPr/>
            </p:nvSpPr>
            <p:spPr bwMode="auto">
              <a:xfrm>
                <a:off x="1555638" y="2414138"/>
                <a:ext cx="460180" cy="593001"/>
              </a:xfrm>
              <a:custGeom>
                <a:avLst/>
                <a:gdLst/>
                <a:ahLst/>
                <a:cxnLst>
                  <a:cxn ang="0">
                    <a:pos x="0" y="397"/>
                  </a:cxn>
                  <a:cxn ang="0">
                    <a:pos x="70" y="0"/>
                  </a:cxn>
                  <a:cxn ang="0">
                    <a:pos x="88" y="8"/>
                  </a:cxn>
                  <a:cxn ang="0">
                    <a:pos x="176" y="17"/>
                  </a:cxn>
                  <a:cxn ang="0">
                    <a:pos x="238" y="26"/>
                  </a:cxn>
                  <a:cxn ang="0">
                    <a:pos x="229" y="106"/>
                  </a:cxn>
                  <a:cxn ang="0">
                    <a:pos x="343" y="123"/>
                  </a:cxn>
                  <a:cxn ang="0">
                    <a:pos x="308" y="442"/>
                  </a:cxn>
                  <a:cxn ang="0">
                    <a:pos x="220" y="433"/>
                  </a:cxn>
                  <a:cxn ang="0">
                    <a:pos x="141" y="415"/>
                  </a:cxn>
                  <a:cxn ang="0">
                    <a:pos x="53" y="406"/>
                  </a:cxn>
                  <a:cxn ang="0">
                    <a:pos x="0" y="397"/>
                  </a:cxn>
                </a:cxnLst>
                <a:rect l="0" t="0" r="r" b="b"/>
                <a:pathLst>
                  <a:path w="343" h="442">
                    <a:moveTo>
                      <a:pt x="0" y="397"/>
                    </a:moveTo>
                    <a:lnTo>
                      <a:pt x="70" y="0"/>
                    </a:lnTo>
                    <a:lnTo>
                      <a:pt x="88" y="8"/>
                    </a:lnTo>
                    <a:lnTo>
                      <a:pt x="176" y="17"/>
                    </a:lnTo>
                    <a:lnTo>
                      <a:pt x="238" y="26"/>
                    </a:lnTo>
                    <a:lnTo>
                      <a:pt x="229" y="106"/>
                    </a:lnTo>
                    <a:lnTo>
                      <a:pt x="343" y="123"/>
                    </a:lnTo>
                    <a:lnTo>
                      <a:pt x="308" y="442"/>
                    </a:lnTo>
                    <a:lnTo>
                      <a:pt x="220" y="433"/>
                    </a:lnTo>
                    <a:lnTo>
                      <a:pt x="141" y="415"/>
                    </a:lnTo>
                    <a:lnTo>
                      <a:pt x="53" y="406"/>
                    </a:lnTo>
                    <a:lnTo>
                      <a:pt x="0" y="397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29" name="Freeform 26"/>
              <p:cNvSpPr>
                <a:spLocks/>
              </p:cNvSpPr>
              <p:nvPr/>
            </p:nvSpPr>
            <p:spPr bwMode="auto">
              <a:xfrm>
                <a:off x="1555638" y="2414138"/>
                <a:ext cx="460180" cy="593001"/>
              </a:xfrm>
              <a:custGeom>
                <a:avLst/>
                <a:gdLst/>
                <a:ahLst/>
                <a:cxnLst>
                  <a:cxn ang="0">
                    <a:pos x="0" y="397"/>
                  </a:cxn>
                  <a:cxn ang="0">
                    <a:pos x="70" y="0"/>
                  </a:cxn>
                  <a:cxn ang="0">
                    <a:pos x="88" y="8"/>
                  </a:cxn>
                  <a:cxn ang="0">
                    <a:pos x="176" y="17"/>
                  </a:cxn>
                  <a:cxn ang="0">
                    <a:pos x="238" y="26"/>
                  </a:cxn>
                  <a:cxn ang="0">
                    <a:pos x="229" y="106"/>
                  </a:cxn>
                  <a:cxn ang="0">
                    <a:pos x="343" y="123"/>
                  </a:cxn>
                  <a:cxn ang="0">
                    <a:pos x="308" y="442"/>
                  </a:cxn>
                  <a:cxn ang="0">
                    <a:pos x="220" y="433"/>
                  </a:cxn>
                  <a:cxn ang="0">
                    <a:pos x="141" y="415"/>
                  </a:cxn>
                  <a:cxn ang="0">
                    <a:pos x="53" y="406"/>
                  </a:cxn>
                  <a:cxn ang="0">
                    <a:pos x="0" y="397"/>
                  </a:cxn>
                </a:cxnLst>
                <a:rect l="0" t="0" r="r" b="b"/>
                <a:pathLst>
                  <a:path w="343" h="442">
                    <a:moveTo>
                      <a:pt x="0" y="397"/>
                    </a:moveTo>
                    <a:lnTo>
                      <a:pt x="70" y="0"/>
                    </a:lnTo>
                    <a:lnTo>
                      <a:pt x="88" y="8"/>
                    </a:lnTo>
                    <a:lnTo>
                      <a:pt x="176" y="17"/>
                    </a:lnTo>
                    <a:lnTo>
                      <a:pt x="238" y="26"/>
                    </a:lnTo>
                    <a:lnTo>
                      <a:pt x="229" y="106"/>
                    </a:lnTo>
                    <a:lnTo>
                      <a:pt x="343" y="123"/>
                    </a:lnTo>
                    <a:lnTo>
                      <a:pt x="308" y="442"/>
                    </a:lnTo>
                    <a:lnTo>
                      <a:pt x="220" y="433"/>
                    </a:lnTo>
                    <a:lnTo>
                      <a:pt x="141" y="415"/>
                    </a:lnTo>
                    <a:lnTo>
                      <a:pt x="53" y="406"/>
                    </a:lnTo>
                    <a:lnTo>
                      <a:pt x="0" y="397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0" name="Freeform 39"/>
              <p:cNvSpPr>
                <a:spLocks/>
              </p:cNvSpPr>
              <p:nvPr/>
            </p:nvSpPr>
            <p:spPr bwMode="auto">
              <a:xfrm>
                <a:off x="3538570" y="3007139"/>
                <a:ext cx="720457" cy="260277"/>
              </a:xfrm>
              <a:custGeom>
                <a:avLst/>
                <a:gdLst/>
                <a:ahLst/>
                <a:cxnLst>
                  <a:cxn ang="0">
                    <a:pos x="0" y="194"/>
                  </a:cxn>
                  <a:cxn ang="0">
                    <a:pos x="9" y="185"/>
                  </a:cxn>
                  <a:cxn ang="0">
                    <a:pos x="18" y="176"/>
                  </a:cxn>
                  <a:cxn ang="0">
                    <a:pos x="18" y="159"/>
                  </a:cxn>
                  <a:cxn ang="0">
                    <a:pos x="9" y="159"/>
                  </a:cxn>
                  <a:cxn ang="0">
                    <a:pos x="18" y="159"/>
                  </a:cxn>
                  <a:cxn ang="0">
                    <a:pos x="18" y="150"/>
                  </a:cxn>
                  <a:cxn ang="0">
                    <a:pos x="27" y="141"/>
                  </a:cxn>
                  <a:cxn ang="0">
                    <a:pos x="27" y="132"/>
                  </a:cxn>
                  <a:cxn ang="0">
                    <a:pos x="27" y="132"/>
                  </a:cxn>
                  <a:cxn ang="0">
                    <a:pos x="35" y="123"/>
                  </a:cxn>
                  <a:cxn ang="0">
                    <a:pos x="35" y="115"/>
                  </a:cxn>
                  <a:cxn ang="0">
                    <a:pos x="35" y="106"/>
                  </a:cxn>
                  <a:cxn ang="0">
                    <a:pos x="44" y="97"/>
                  </a:cxn>
                  <a:cxn ang="0">
                    <a:pos x="44" y="88"/>
                  </a:cxn>
                  <a:cxn ang="0">
                    <a:pos x="44" y="79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141" y="62"/>
                  </a:cxn>
                  <a:cxn ang="0">
                    <a:pos x="132" y="44"/>
                  </a:cxn>
                  <a:cxn ang="0">
                    <a:pos x="150" y="44"/>
                  </a:cxn>
                  <a:cxn ang="0">
                    <a:pos x="203" y="44"/>
                  </a:cxn>
                  <a:cxn ang="0">
                    <a:pos x="264" y="35"/>
                  </a:cxn>
                  <a:cxn ang="0">
                    <a:pos x="308" y="26"/>
                  </a:cxn>
                  <a:cxn ang="0">
                    <a:pos x="361" y="26"/>
                  </a:cxn>
                  <a:cxn ang="0">
                    <a:pos x="405" y="26"/>
                  </a:cxn>
                  <a:cxn ang="0">
                    <a:pos x="431" y="17"/>
                  </a:cxn>
                  <a:cxn ang="0">
                    <a:pos x="484" y="8"/>
                  </a:cxn>
                  <a:cxn ang="0">
                    <a:pos x="528" y="0"/>
                  </a:cxn>
                  <a:cxn ang="0">
                    <a:pos x="528" y="8"/>
                  </a:cxn>
                  <a:cxn ang="0">
                    <a:pos x="528" y="26"/>
                  </a:cxn>
                  <a:cxn ang="0">
                    <a:pos x="519" y="26"/>
                  </a:cxn>
                  <a:cxn ang="0">
                    <a:pos x="511" y="44"/>
                  </a:cxn>
                  <a:cxn ang="0">
                    <a:pos x="502" y="44"/>
                  </a:cxn>
                  <a:cxn ang="0">
                    <a:pos x="493" y="53"/>
                  </a:cxn>
                  <a:cxn ang="0">
                    <a:pos x="484" y="62"/>
                  </a:cxn>
                  <a:cxn ang="0">
                    <a:pos x="475" y="62"/>
                  </a:cxn>
                  <a:cxn ang="0">
                    <a:pos x="467" y="62"/>
                  </a:cxn>
                  <a:cxn ang="0">
                    <a:pos x="467" y="70"/>
                  </a:cxn>
                  <a:cxn ang="0">
                    <a:pos x="458" y="79"/>
                  </a:cxn>
                  <a:cxn ang="0">
                    <a:pos x="431" y="97"/>
                  </a:cxn>
                  <a:cxn ang="0">
                    <a:pos x="414" y="106"/>
                  </a:cxn>
                  <a:cxn ang="0">
                    <a:pos x="405" y="115"/>
                  </a:cxn>
                  <a:cxn ang="0">
                    <a:pos x="396" y="123"/>
                  </a:cxn>
                  <a:cxn ang="0">
                    <a:pos x="387" y="132"/>
                  </a:cxn>
                  <a:cxn ang="0">
                    <a:pos x="361" y="159"/>
                  </a:cxn>
                  <a:cxn ang="0">
                    <a:pos x="229" y="168"/>
                  </a:cxn>
                  <a:cxn ang="0">
                    <a:pos x="141" y="176"/>
                  </a:cxn>
                  <a:cxn ang="0">
                    <a:pos x="88" y="185"/>
                  </a:cxn>
                </a:cxnLst>
                <a:rect l="0" t="0" r="r" b="b"/>
                <a:pathLst>
                  <a:path w="537" h="194">
                    <a:moveTo>
                      <a:pt x="0" y="194"/>
                    </a:moveTo>
                    <a:lnTo>
                      <a:pt x="0" y="194"/>
                    </a:lnTo>
                    <a:lnTo>
                      <a:pt x="9" y="185"/>
                    </a:lnTo>
                    <a:lnTo>
                      <a:pt x="9" y="185"/>
                    </a:lnTo>
                    <a:lnTo>
                      <a:pt x="18" y="176"/>
                    </a:lnTo>
                    <a:lnTo>
                      <a:pt x="18" y="176"/>
                    </a:lnTo>
                    <a:lnTo>
                      <a:pt x="18" y="168"/>
                    </a:lnTo>
                    <a:lnTo>
                      <a:pt x="18" y="159"/>
                    </a:lnTo>
                    <a:lnTo>
                      <a:pt x="9" y="159"/>
                    </a:lnTo>
                    <a:lnTo>
                      <a:pt x="9" y="159"/>
                    </a:lnTo>
                    <a:lnTo>
                      <a:pt x="18" y="150"/>
                    </a:lnTo>
                    <a:lnTo>
                      <a:pt x="18" y="159"/>
                    </a:lnTo>
                    <a:lnTo>
                      <a:pt x="18" y="150"/>
                    </a:lnTo>
                    <a:lnTo>
                      <a:pt x="18" y="150"/>
                    </a:lnTo>
                    <a:lnTo>
                      <a:pt x="18" y="150"/>
                    </a:lnTo>
                    <a:lnTo>
                      <a:pt x="27" y="141"/>
                    </a:lnTo>
                    <a:lnTo>
                      <a:pt x="27" y="141"/>
                    </a:lnTo>
                    <a:lnTo>
                      <a:pt x="27" y="132"/>
                    </a:lnTo>
                    <a:lnTo>
                      <a:pt x="27" y="132"/>
                    </a:lnTo>
                    <a:lnTo>
                      <a:pt x="27" y="132"/>
                    </a:lnTo>
                    <a:lnTo>
                      <a:pt x="27" y="132"/>
                    </a:lnTo>
                    <a:lnTo>
                      <a:pt x="35" y="123"/>
                    </a:lnTo>
                    <a:lnTo>
                      <a:pt x="35" y="115"/>
                    </a:lnTo>
                    <a:lnTo>
                      <a:pt x="35" y="115"/>
                    </a:lnTo>
                    <a:lnTo>
                      <a:pt x="35" y="115"/>
                    </a:lnTo>
                    <a:lnTo>
                      <a:pt x="35" y="106"/>
                    </a:lnTo>
                    <a:lnTo>
                      <a:pt x="35" y="97"/>
                    </a:lnTo>
                    <a:lnTo>
                      <a:pt x="44" y="97"/>
                    </a:lnTo>
                    <a:lnTo>
                      <a:pt x="35" y="88"/>
                    </a:lnTo>
                    <a:lnTo>
                      <a:pt x="44" y="88"/>
                    </a:lnTo>
                    <a:lnTo>
                      <a:pt x="44" y="79"/>
                    </a:lnTo>
                    <a:lnTo>
                      <a:pt x="44" y="79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3" y="70"/>
                    </a:lnTo>
                    <a:lnTo>
                      <a:pt x="141" y="62"/>
                    </a:lnTo>
                    <a:lnTo>
                      <a:pt x="141" y="53"/>
                    </a:lnTo>
                    <a:lnTo>
                      <a:pt x="132" y="44"/>
                    </a:lnTo>
                    <a:lnTo>
                      <a:pt x="141" y="44"/>
                    </a:lnTo>
                    <a:lnTo>
                      <a:pt x="150" y="44"/>
                    </a:lnTo>
                    <a:lnTo>
                      <a:pt x="176" y="44"/>
                    </a:lnTo>
                    <a:lnTo>
                      <a:pt x="203" y="44"/>
                    </a:lnTo>
                    <a:lnTo>
                      <a:pt x="238" y="35"/>
                    </a:lnTo>
                    <a:lnTo>
                      <a:pt x="264" y="35"/>
                    </a:lnTo>
                    <a:lnTo>
                      <a:pt x="299" y="35"/>
                    </a:lnTo>
                    <a:lnTo>
                      <a:pt x="308" y="26"/>
                    </a:lnTo>
                    <a:lnTo>
                      <a:pt x="343" y="26"/>
                    </a:lnTo>
                    <a:lnTo>
                      <a:pt x="361" y="26"/>
                    </a:lnTo>
                    <a:lnTo>
                      <a:pt x="379" y="26"/>
                    </a:lnTo>
                    <a:lnTo>
                      <a:pt x="405" y="26"/>
                    </a:lnTo>
                    <a:lnTo>
                      <a:pt x="405" y="17"/>
                    </a:lnTo>
                    <a:lnTo>
                      <a:pt x="431" y="17"/>
                    </a:lnTo>
                    <a:lnTo>
                      <a:pt x="440" y="17"/>
                    </a:lnTo>
                    <a:lnTo>
                      <a:pt x="484" y="8"/>
                    </a:lnTo>
                    <a:lnTo>
                      <a:pt x="511" y="8"/>
                    </a:lnTo>
                    <a:lnTo>
                      <a:pt x="528" y="0"/>
                    </a:lnTo>
                    <a:lnTo>
                      <a:pt x="537" y="0"/>
                    </a:lnTo>
                    <a:lnTo>
                      <a:pt x="528" y="8"/>
                    </a:lnTo>
                    <a:lnTo>
                      <a:pt x="528" y="17"/>
                    </a:lnTo>
                    <a:lnTo>
                      <a:pt x="528" y="26"/>
                    </a:lnTo>
                    <a:lnTo>
                      <a:pt x="528" y="26"/>
                    </a:lnTo>
                    <a:lnTo>
                      <a:pt x="519" y="26"/>
                    </a:lnTo>
                    <a:lnTo>
                      <a:pt x="519" y="44"/>
                    </a:lnTo>
                    <a:lnTo>
                      <a:pt x="511" y="44"/>
                    </a:lnTo>
                    <a:lnTo>
                      <a:pt x="511" y="44"/>
                    </a:lnTo>
                    <a:lnTo>
                      <a:pt x="502" y="44"/>
                    </a:lnTo>
                    <a:lnTo>
                      <a:pt x="493" y="53"/>
                    </a:lnTo>
                    <a:lnTo>
                      <a:pt x="493" y="53"/>
                    </a:lnTo>
                    <a:lnTo>
                      <a:pt x="484" y="62"/>
                    </a:lnTo>
                    <a:lnTo>
                      <a:pt x="484" y="62"/>
                    </a:lnTo>
                    <a:lnTo>
                      <a:pt x="475" y="53"/>
                    </a:lnTo>
                    <a:lnTo>
                      <a:pt x="475" y="62"/>
                    </a:lnTo>
                    <a:lnTo>
                      <a:pt x="475" y="62"/>
                    </a:lnTo>
                    <a:lnTo>
                      <a:pt x="467" y="62"/>
                    </a:lnTo>
                    <a:lnTo>
                      <a:pt x="467" y="62"/>
                    </a:lnTo>
                    <a:lnTo>
                      <a:pt x="467" y="70"/>
                    </a:lnTo>
                    <a:lnTo>
                      <a:pt x="458" y="79"/>
                    </a:lnTo>
                    <a:lnTo>
                      <a:pt x="458" y="79"/>
                    </a:lnTo>
                    <a:lnTo>
                      <a:pt x="449" y="88"/>
                    </a:lnTo>
                    <a:lnTo>
                      <a:pt x="431" y="97"/>
                    </a:lnTo>
                    <a:lnTo>
                      <a:pt x="431" y="106"/>
                    </a:lnTo>
                    <a:lnTo>
                      <a:pt x="414" y="106"/>
                    </a:lnTo>
                    <a:lnTo>
                      <a:pt x="405" y="106"/>
                    </a:lnTo>
                    <a:lnTo>
                      <a:pt x="405" y="115"/>
                    </a:lnTo>
                    <a:lnTo>
                      <a:pt x="405" y="115"/>
                    </a:lnTo>
                    <a:lnTo>
                      <a:pt x="396" y="123"/>
                    </a:lnTo>
                    <a:lnTo>
                      <a:pt x="396" y="132"/>
                    </a:lnTo>
                    <a:lnTo>
                      <a:pt x="387" y="132"/>
                    </a:lnTo>
                    <a:lnTo>
                      <a:pt x="387" y="150"/>
                    </a:lnTo>
                    <a:lnTo>
                      <a:pt x="361" y="159"/>
                    </a:lnTo>
                    <a:lnTo>
                      <a:pt x="299" y="159"/>
                    </a:lnTo>
                    <a:lnTo>
                      <a:pt x="229" y="168"/>
                    </a:lnTo>
                    <a:lnTo>
                      <a:pt x="141" y="176"/>
                    </a:lnTo>
                    <a:lnTo>
                      <a:pt x="141" y="176"/>
                    </a:lnTo>
                    <a:lnTo>
                      <a:pt x="141" y="176"/>
                    </a:lnTo>
                    <a:lnTo>
                      <a:pt x="88" y="185"/>
                    </a:lnTo>
                    <a:lnTo>
                      <a:pt x="0" y="194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1" name="Freeform 40"/>
              <p:cNvSpPr>
                <a:spLocks/>
              </p:cNvSpPr>
              <p:nvPr/>
            </p:nvSpPr>
            <p:spPr bwMode="auto">
              <a:xfrm>
                <a:off x="3538570" y="3007139"/>
                <a:ext cx="720457" cy="260277"/>
              </a:xfrm>
              <a:custGeom>
                <a:avLst/>
                <a:gdLst/>
                <a:ahLst/>
                <a:cxnLst>
                  <a:cxn ang="0">
                    <a:pos x="0" y="194"/>
                  </a:cxn>
                  <a:cxn ang="0">
                    <a:pos x="9" y="185"/>
                  </a:cxn>
                  <a:cxn ang="0">
                    <a:pos x="18" y="176"/>
                  </a:cxn>
                  <a:cxn ang="0">
                    <a:pos x="18" y="159"/>
                  </a:cxn>
                  <a:cxn ang="0">
                    <a:pos x="9" y="159"/>
                  </a:cxn>
                  <a:cxn ang="0">
                    <a:pos x="18" y="159"/>
                  </a:cxn>
                  <a:cxn ang="0">
                    <a:pos x="18" y="150"/>
                  </a:cxn>
                  <a:cxn ang="0">
                    <a:pos x="27" y="141"/>
                  </a:cxn>
                  <a:cxn ang="0">
                    <a:pos x="27" y="132"/>
                  </a:cxn>
                  <a:cxn ang="0">
                    <a:pos x="27" y="132"/>
                  </a:cxn>
                  <a:cxn ang="0">
                    <a:pos x="35" y="123"/>
                  </a:cxn>
                  <a:cxn ang="0">
                    <a:pos x="35" y="115"/>
                  </a:cxn>
                  <a:cxn ang="0">
                    <a:pos x="35" y="106"/>
                  </a:cxn>
                  <a:cxn ang="0">
                    <a:pos x="44" y="97"/>
                  </a:cxn>
                  <a:cxn ang="0">
                    <a:pos x="44" y="88"/>
                  </a:cxn>
                  <a:cxn ang="0">
                    <a:pos x="44" y="79"/>
                  </a:cxn>
                  <a:cxn ang="0">
                    <a:pos x="44" y="70"/>
                  </a:cxn>
                  <a:cxn ang="0">
                    <a:pos x="44" y="70"/>
                  </a:cxn>
                  <a:cxn ang="0">
                    <a:pos x="141" y="62"/>
                  </a:cxn>
                  <a:cxn ang="0">
                    <a:pos x="132" y="44"/>
                  </a:cxn>
                  <a:cxn ang="0">
                    <a:pos x="150" y="44"/>
                  </a:cxn>
                  <a:cxn ang="0">
                    <a:pos x="203" y="44"/>
                  </a:cxn>
                  <a:cxn ang="0">
                    <a:pos x="264" y="35"/>
                  </a:cxn>
                  <a:cxn ang="0">
                    <a:pos x="308" y="26"/>
                  </a:cxn>
                  <a:cxn ang="0">
                    <a:pos x="361" y="26"/>
                  </a:cxn>
                  <a:cxn ang="0">
                    <a:pos x="405" y="26"/>
                  </a:cxn>
                  <a:cxn ang="0">
                    <a:pos x="431" y="17"/>
                  </a:cxn>
                  <a:cxn ang="0">
                    <a:pos x="484" y="8"/>
                  </a:cxn>
                  <a:cxn ang="0">
                    <a:pos x="528" y="0"/>
                  </a:cxn>
                  <a:cxn ang="0">
                    <a:pos x="528" y="8"/>
                  </a:cxn>
                  <a:cxn ang="0">
                    <a:pos x="528" y="26"/>
                  </a:cxn>
                  <a:cxn ang="0">
                    <a:pos x="519" y="26"/>
                  </a:cxn>
                  <a:cxn ang="0">
                    <a:pos x="511" y="44"/>
                  </a:cxn>
                  <a:cxn ang="0">
                    <a:pos x="502" y="44"/>
                  </a:cxn>
                  <a:cxn ang="0">
                    <a:pos x="493" y="53"/>
                  </a:cxn>
                  <a:cxn ang="0">
                    <a:pos x="484" y="62"/>
                  </a:cxn>
                  <a:cxn ang="0">
                    <a:pos x="475" y="62"/>
                  </a:cxn>
                  <a:cxn ang="0">
                    <a:pos x="467" y="62"/>
                  </a:cxn>
                  <a:cxn ang="0">
                    <a:pos x="467" y="70"/>
                  </a:cxn>
                  <a:cxn ang="0">
                    <a:pos x="458" y="79"/>
                  </a:cxn>
                  <a:cxn ang="0">
                    <a:pos x="431" y="97"/>
                  </a:cxn>
                  <a:cxn ang="0">
                    <a:pos x="414" y="106"/>
                  </a:cxn>
                  <a:cxn ang="0">
                    <a:pos x="405" y="115"/>
                  </a:cxn>
                  <a:cxn ang="0">
                    <a:pos x="396" y="123"/>
                  </a:cxn>
                  <a:cxn ang="0">
                    <a:pos x="387" y="132"/>
                  </a:cxn>
                  <a:cxn ang="0">
                    <a:pos x="361" y="159"/>
                  </a:cxn>
                  <a:cxn ang="0">
                    <a:pos x="229" y="168"/>
                  </a:cxn>
                  <a:cxn ang="0">
                    <a:pos x="141" y="176"/>
                  </a:cxn>
                  <a:cxn ang="0">
                    <a:pos x="88" y="185"/>
                  </a:cxn>
                </a:cxnLst>
                <a:rect l="0" t="0" r="r" b="b"/>
                <a:pathLst>
                  <a:path w="537" h="194">
                    <a:moveTo>
                      <a:pt x="0" y="194"/>
                    </a:moveTo>
                    <a:lnTo>
                      <a:pt x="0" y="194"/>
                    </a:lnTo>
                    <a:lnTo>
                      <a:pt x="9" y="185"/>
                    </a:lnTo>
                    <a:lnTo>
                      <a:pt x="9" y="185"/>
                    </a:lnTo>
                    <a:lnTo>
                      <a:pt x="18" y="176"/>
                    </a:lnTo>
                    <a:lnTo>
                      <a:pt x="18" y="176"/>
                    </a:lnTo>
                    <a:lnTo>
                      <a:pt x="18" y="168"/>
                    </a:lnTo>
                    <a:lnTo>
                      <a:pt x="18" y="159"/>
                    </a:lnTo>
                    <a:lnTo>
                      <a:pt x="9" y="159"/>
                    </a:lnTo>
                    <a:lnTo>
                      <a:pt x="9" y="159"/>
                    </a:lnTo>
                    <a:lnTo>
                      <a:pt x="18" y="150"/>
                    </a:lnTo>
                    <a:lnTo>
                      <a:pt x="18" y="159"/>
                    </a:lnTo>
                    <a:lnTo>
                      <a:pt x="18" y="150"/>
                    </a:lnTo>
                    <a:lnTo>
                      <a:pt x="18" y="150"/>
                    </a:lnTo>
                    <a:lnTo>
                      <a:pt x="18" y="150"/>
                    </a:lnTo>
                    <a:lnTo>
                      <a:pt x="27" y="141"/>
                    </a:lnTo>
                    <a:lnTo>
                      <a:pt x="27" y="141"/>
                    </a:lnTo>
                    <a:lnTo>
                      <a:pt x="27" y="132"/>
                    </a:lnTo>
                    <a:lnTo>
                      <a:pt x="27" y="132"/>
                    </a:lnTo>
                    <a:lnTo>
                      <a:pt x="27" y="132"/>
                    </a:lnTo>
                    <a:lnTo>
                      <a:pt x="27" y="132"/>
                    </a:lnTo>
                    <a:lnTo>
                      <a:pt x="35" y="123"/>
                    </a:lnTo>
                    <a:lnTo>
                      <a:pt x="35" y="115"/>
                    </a:lnTo>
                    <a:lnTo>
                      <a:pt x="35" y="115"/>
                    </a:lnTo>
                    <a:lnTo>
                      <a:pt x="35" y="115"/>
                    </a:lnTo>
                    <a:lnTo>
                      <a:pt x="35" y="106"/>
                    </a:lnTo>
                    <a:lnTo>
                      <a:pt x="35" y="97"/>
                    </a:lnTo>
                    <a:lnTo>
                      <a:pt x="44" y="97"/>
                    </a:lnTo>
                    <a:lnTo>
                      <a:pt x="35" y="88"/>
                    </a:lnTo>
                    <a:lnTo>
                      <a:pt x="44" y="88"/>
                    </a:lnTo>
                    <a:lnTo>
                      <a:pt x="44" y="79"/>
                    </a:lnTo>
                    <a:lnTo>
                      <a:pt x="44" y="79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53" y="70"/>
                    </a:lnTo>
                    <a:lnTo>
                      <a:pt x="141" y="62"/>
                    </a:lnTo>
                    <a:lnTo>
                      <a:pt x="141" y="53"/>
                    </a:lnTo>
                    <a:lnTo>
                      <a:pt x="132" y="44"/>
                    </a:lnTo>
                    <a:lnTo>
                      <a:pt x="141" y="44"/>
                    </a:lnTo>
                    <a:lnTo>
                      <a:pt x="150" y="44"/>
                    </a:lnTo>
                    <a:lnTo>
                      <a:pt x="176" y="44"/>
                    </a:lnTo>
                    <a:lnTo>
                      <a:pt x="203" y="44"/>
                    </a:lnTo>
                    <a:lnTo>
                      <a:pt x="238" y="35"/>
                    </a:lnTo>
                    <a:lnTo>
                      <a:pt x="264" y="35"/>
                    </a:lnTo>
                    <a:lnTo>
                      <a:pt x="299" y="35"/>
                    </a:lnTo>
                    <a:lnTo>
                      <a:pt x="308" y="26"/>
                    </a:lnTo>
                    <a:lnTo>
                      <a:pt x="343" y="26"/>
                    </a:lnTo>
                    <a:lnTo>
                      <a:pt x="361" y="26"/>
                    </a:lnTo>
                    <a:lnTo>
                      <a:pt x="379" y="26"/>
                    </a:lnTo>
                    <a:lnTo>
                      <a:pt x="405" y="26"/>
                    </a:lnTo>
                    <a:lnTo>
                      <a:pt x="405" y="17"/>
                    </a:lnTo>
                    <a:lnTo>
                      <a:pt x="431" y="17"/>
                    </a:lnTo>
                    <a:lnTo>
                      <a:pt x="440" y="17"/>
                    </a:lnTo>
                    <a:lnTo>
                      <a:pt x="484" y="8"/>
                    </a:lnTo>
                    <a:lnTo>
                      <a:pt x="511" y="8"/>
                    </a:lnTo>
                    <a:lnTo>
                      <a:pt x="528" y="0"/>
                    </a:lnTo>
                    <a:lnTo>
                      <a:pt x="537" y="0"/>
                    </a:lnTo>
                    <a:lnTo>
                      <a:pt x="528" y="8"/>
                    </a:lnTo>
                    <a:lnTo>
                      <a:pt x="528" y="17"/>
                    </a:lnTo>
                    <a:lnTo>
                      <a:pt x="528" y="26"/>
                    </a:lnTo>
                    <a:lnTo>
                      <a:pt x="528" y="26"/>
                    </a:lnTo>
                    <a:lnTo>
                      <a:pt x="519" y="26"/>
                    </a:lnTo>
                    <a:lnTo>
                      <a:pt x="519" y="44"/>
                    </a:lnTo>
                    <a:lnTo>
                      <a:pt x="511" y="44"/>
                    </a:lnTo>
                    <a:lnTo>
                      <a:pt x="511" y="44"/>
                    </a:lnTo>
                    <a:lnTo>
                      <a:pt x="502" y="44"/>
                    </a:lnTo>
                    <a:lnTo>
                      <a:pt x="493" y="53"/>
                    </a:lnTo>
                    <a:lnTo>
                      <a:pt x="493" y="53"/>
                    </a:lnTo>
                    <a:lnTo>
                      <a:pt x="484" y="62"/>
                    </a:lnTo>
                    <a:lnTo>
                      <a:pt x="484" y="62"/>
                    </a:lnTo>
                    <a:lnTo>
                      <a:pt x="475" y="53"/>
                    </a:lnTo>
                    <a:lnTo>
                      <a:pt x="475" y="62"/>
                    </a:lnTo>
                    <a:lnTo>
                      <a:pt x="475" y="62"/>
                    </a:lnTo>
                    <a:lnTo>
                      <a:pt x="467" y="62"/>
                    </a:lnTo>
                    <a:lnTo>
                      <a:pt x="467" y="62"/>
                    </a:lnTo>
                    <a:lnTo>
                      <a:pt x="467" y="70"/>
                    </a:lnTo>
                    <a:lnTo>
                      <a:pt x="458" y="79"/>
                    </a:lnTo>
                    <a:lnTo>
                      <a:pt x="458" y="79"/>
                    </a:lnTo>
                    <a:lnTo>
                      <a:pt x="449" y="88"/>
                    </a:lnTo>
                    <a:lnTo>
                      <a:pt x="431" y="97"/>
                    </a:lnTo>
                    <a:lnTo>
                      <a:pt x="431" y="106"/>
                    </a:lnTo>
                    <a:lnTo>
                      <a:pt x="414" y="106"/>
                    </a:lnTo>
                    <a:lnTo>
                      <a:pt x="405" y="106"/>
                    </a:lnTo>
                    <a:lnTo>
                      <a:pt x="405" y="115"/>
                    </a:lnTo>
                    <a:lnTo>
                      <a:pt x="405" y="115"/>
                    </a:lnTo>
                    <a:lnTo>
                      <a:pt x="396" y="123"/>
                    </a:lnTo>
                    <a:lnTo>
                      <a:pt x="396" y="132"/>
                    </a:lnTo>
                    <a:lnTo>
                      <a:pt x="387" y="132"/>
                    </a:lnTo>
                    <a:lnTo>
                      <a:pt x="387" y="150"/>
                    </a:lnTo>
                    <a:lnTo>
                      <a:pt x="361" y="159"/>
                    </a:lnTo>
                    <a:lnTo>
                      <a:pt x="299" y="159"/>
                    </a:lnTo>
                    <a:lnTo>
                      <a:pt x="229" y="168"/>
                    </a:lnTo>
                    <a:lnTo>
                      <a:pt x="141" y="176"/>
                    </a:lnTo>
                    <a:lnTo>
                      <a:pt x="141" y="176"/>
                    </a:lnTo>
                    <a:lnTo>
                      <a:pt x="141" y="176"/>
                    </a:lnTo>
                    <a:lnTo>
                      <a:pt x="88" y="185"/>
                    </a:lnTo>
                    <a:lnTo>
                      <a:pt x="0" y="194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2" name="Freeform 41"/>
              <p:cNvSpPr>
                <a:spLocks/>
              </p:cNvSpPr>
              <p:nvPr/>
            </p:nvSpPr>
            <p:spPr bwMode="auto">
              <a:xfrm>
                <a:off x="4140962" y="3149352"/>
                <a:ext cx="425298" cy="331383"/>
              </a:xfrm>
              <a:custGeom>
                <a:avLst/>
                <a:gdLst/>
                <a:ahLst/>
                <a:cxnLst>
                  <a:cxn ang="0">
                    <a:pos x="35" y="26"/>
                  </a:cxn>
                  <a:cxn ang="0">
                    <a:pos x="62" y="17"/>
                  </a:cxn>
                  <a:cxn ang="0">
                    <a:pos x="141" y="0"/>
                  </a:cxn>
                  <a:cxn ang="0">
                    <a:pos x="158" y="17"/>
                  </a:cxn>
                  <a:cxn ang="0">
                    <a:pos x="158" y="26"/>
                  </a:cxn>
                  <a:cxn ang="0">
                    <a:pos x="317" y="70"/>
                  </a:cxn>
                  <a:cxn ang="0">
                    <a:pos x="299" y="88"/>
                  </a:cxn>
                  <a:cxn ang="0">
                    <a:pos x="290" y="132"/>
                  </a:cxn>
                  <a:cxn ang="0">
                    <a:pos x="281" y="115"/>
                  </a:cxn>
                  <a:cxn ang="0">
                    <a:pos x="281" y="132"/>
                  </a:cxn>
                  <a:cxn ang="0">
                    <a:pos x="281" y="141"/>
                  </a:cxn>
                  <a:cxn ang="0">
                    <a:pos x="281" y="150"/>
                  </a:cxn>
                  <a:cxn ang="0">
                    <a:pos x="264" y="150"/>
                  </a:cxn>
                  <a:cxn ang="0">
                    <a:pos x="264" y="168"/>
                  </a:cxn>
                  <a:cxn ang="0">
                    <a:pos x="246" y="177"/>
                  </a:cxn>
                  <a:cxn ang="0">
                    <a:pos x="246" y="177"/>
                  </a:cxn>
                  <a:cxn ang="0">
                    <a:pos x="246" y="185"/>
                  </a:cxn>
                  <a:cxn ang="0">
                    <a:pos x="229" y="194"/>
                  </a:cxn>
                  <a:cxn ang="0">
                    <a:pos x="229" y="203"/>
                  </a:cxn>
                  <a:cxn ang="0">
                    <a:pos x="211" y="203"/>
                  </a:cxn>
                  <a:cxn ang="0">
                    <a:pos x="211" y="212"/>
                  </a:cxn>
                  <a:cxn ang="0">
                    <a:pos x="211" y="221"/>
                  </a:cxn>
                  <a:cxn ang="0">
                    <a:pos x="211" y="221"/>
                  </a:cxn>
                  <a:cxn ang="0">
                    <a:pos x="202" y="221"/>
                  </a:cxn>
                  <a:cxn ang="0">
                    <a:pos x="194" y="212"/>
                  </a:cxn>
                  <a:cxn ang="0">
                    <a:pos x="202" y="230"/>
                  </a:cxn>
                  <a:cxn ang="0">
                    <a:pos x="194" y="238"/>
                  </a:cxn>
                  <a:cxn ang="0">
                    <a:pos x="194" y="247"/>
                  </a:cxn>
                  <a:cxn ang="0">
                    <a:pos x="176" y="247"/>
                  </a:cxn>
                  <a:cxn ang="0">
                    <a:pos x="176" y="230"/>
                  </a:cxn>
                  <a:cxn ang="0">
                    <a:pos x="167" y="212"/>
                  </a:cxn>
                  <a:cxn ang="0">
                    <a:pos x="150" y="203"/>
                  </a:cxn>
                  <a:cxn ang="0">
                    <a:pos x="141" y="185"/>
                  </a:cxn>
                  <a:cxn ang="0">
                    <a:pos x="123" y="168"/>
                  </a:cxn>
                  <a:cxn ang="0">
                    <a:pos x="114" y="159"/>
                  </a:cxn>
                  <a:cxn ang="0">
                    <a:pos x="106" y="150"/>
                  </a:cxn>
                  <a:cxn ang="0">
                    <a:pos x="97" y="141"/>
                  </a:cxn>
                  <a:cxn ang="0">
                    <a:pos x="88" y="124"/>
                  </a:cxn>
                  <a:cxn ang="0">
                    <a:pos x="62" y="115"/>
                  </a:cxn>
                  <a:cxn ang="0">
                    <a:pos x="35" y="88"/>
                  </a:cxn>
                  <a:cxn ang="0">
                    <a:pos x="26" y="79"/>
                  </a:cxn>
                  <a:cxn ang="0">
                    <a:pos x="0" y="62"/>
                  </a:cxn>
                  <a:cxn ang="0">
                    <a:pos x="9" y="44"/>
                  </a:cxn>
                </a:cxnLst>
                <a:rect l="0" t="0" r="r" b="b"/>
                <a:pathLst>
                  <a:path w="317" h="247">
                    <a:moveTo>
                      <a:pt x="18" y="35"/>
                    </a:moveTo>
                    <a:lnTo>
                      <a:pt x="26" y="26"/>
                    </a:lnTo>
                    <a:lnTo>
                      <a:pt x="35" y="26"/>
                    </a:lnTo>
                    <a:lnTo>
                      <a:pt x="44" y="17"/>
                    </a:lnTo>
                    <a:lnTo>
                      <a:pt x="53" y="17"/>
                    </a:lnTo>
                    <a:lnTo>
                      <a:pt x="62" y="17"/>
                    </a:lnTo>
                    <a:lnTo>
                      <a:pt x="62" y="9"/>
                    </a:lnTo>
                    <a:lnTo>
                      <a:pt x="123" y="9"/>
                    </a:lnTo>
                    <a:lnTo>
                      <a:pt x="141" y="0"/>
                    </a:lnTo>
                    <a:lnTo>
                      <a:pt x="150" y="9"/>
                    </a:lnTo>
                    <a:lnTo>
                      <a:pt x="150" y="9"/>
                    </a:lnTo>
                    <a:lnTo>
                      <a:pt x="158" y="17"/>
                    </a:lnTo>
                    <a:lnTo>
                      <a:pt x="158" y="17"/>
                    </a:lnTo>
                    <a:lnTo>
                      <a:pt x="158" y="26"/>
                    </a:lnTo>
                    <a:lnTo>
                      <a:pt x="158" y="26"/>
                    </a:lnTo>
                    <a:lnTo>
                      <a:pt x="229" y="17"/>
                    </a:lnTo>
                    <a:lnTo>
                      <a:pt x="317" y="70"/>
                    </a:lnTo>
                    <a:lnTo>
                      <a:pt x="317" y="70"/>
                    </a:lnTo>
                    <a:lnTo>
                      <a:pt x="317" y="79"/>
                    </a:lnTo>
                    <a:lnTo>
                      <a:pt x="308" y="79"/>
                    </a:lnTo>
                    <a:lnTo>
                      <a:pt x="299" y="88"/>
                    </a:lnTo>
                    <a:lnTo>
                      <a:pt x="290" y="115"/>
                    </a:lnTo>
                    <a:lnTo>
                      <a:pt x="290" y="115"/>
                    </a:lnTo>
                    <a:lnTo>
                      <a:pt x="290" y="132"/>
                    </a:lnTo>
                    <a:lnTo>
                      <a:pt x="281" y="132"/>
                    </a:lnTo>
                    <a:lnTo>
                      <a:pt x="281" y="124"/>
                    </a:lnTo>
                    <a:lnTo>
                      <a:pt x="281" y="115"/>
                    </a:lnTo>
                    <a:lnTo>
                      <a:pt x="281" y="115"/>
                    </a:lnTo>
                    <a:lnTo>
                      <a:pt x="281" y="124"/>
                    </a:lnTo>
                    <a:lnTo>
                      <a:pt x="281" y="132"/>
                    </a:lnTo>
                    <a:lnTo>
                      <a:pt x="281" y="132"/>
                    </a:lnTo>
                    <a:lnTo>
                      <a:pt x="290" y="141"/>
                    </a:lnTo>
                    <a:lnTo>
                      <a:pt x="281" y="141"/>
                    </a:lnTo>
                    <a:lnTo>
                      <a:pt x="281" y="141"/>
                    </a:lnTo>
                    <a:lnTo>
                      <a:pt x="281" y="141"/>
                    </a:lnTo>
                    <a:lnTo>
                      <a:pt x="281" y="150"/>
                    </a:lnTo>
                    <a:lnTo>
                      <a:pt x="273" y="150"/>
                    </a:lnTo>
                    <a:lnTo>
                      <a:pt x="273" y="159"/>
                    </a:lnTo>
                    <a:lnTo>
                      <a:pt x="264" y="150"/>
                    </a:lnTo>
                    <a:lnTo>
                      <a:pt x="264" y="159"/>
                    </a:lnTo>
                    <a:lnTo>
                      <a:pt x="264" y="168"/>
                    </a:lnTo>
                    <a:lnTo>
                      <a:pt x="264" y="168"/>
                    </a:lnTo>
                    <a:lnTo>
                      <a:pt x="255" y="168"/>
                    </a:lnTo>
                    <a:lnTo>
                      <a:pt x="255" y="177"/>
                    </a:lnTo>
                    <a:lnTo>
                      <a:pt x="246" y="177"/>
                    </a:lnTo>
                    <a:lnTo>
                      <a:pt x="246" y="168"/>
                    </a:lnTo>
                    <a:lnTo>
                      <a:pt x="246" y="168"/>
                    </a:lnTo>
                    <a:lnTo>
                      <a:pt x="246" y="177"/>
                    </a:lnTo>
                    <a:lnTo>
                      <a:pt x="246" y="177"/>
                    </a:lnTo>
                    <a:lnTo>
                      <a:pt x="246" y="185"/>
                    </a:lnTo>
                    <a:lnTo>
                      <a:pt x="246" y="185"/>
                    </a:lnTo>
                    <a:lnTo>
                      <a:pt x="246" y="194"/>
                    </a:lnTo>
                    <a:lnTo>
                      <a:pt x="237" y="194"/>
                    </a:lnTo>
                    <a:lnTo>
                      <a:pt x="229" y="194"/>
                    </a:lnTo>
                    <a:lnTo>
                      <a:pt x="229" y="194"/>
                    </a:lnTo>
                    <a:lnTo>
                      <a:pt x="229" y="194"/>
                    </a:lnTo>
                    <a:lnTo>
                      <a:pt x="229" y="203"/>
                    </a:lnTo>
                    <a:lnTo>
                      <a:pt x="220" y="203"/>
                    </a:lnTo>
                    <a:lnTo>
                      <a:pt x="220" y="203"/>
                    </a:lnTo>
                    <a:lnTo>
                      <a:pt x="211" y="203"/>
                    </a:lnTo>
                    <a:lnTo>
                      <a:pt x="202" y="212"/>
                    </a:lnTo>
                    <a:lnTo>
                      <a:pt x="202" y="203"/>
                    </a:lnTo>
                    <a:lnTo>
                      <a:pt x="211" y="212"/>
                    </a:lnTo>
                    <a:lnTo>
                      <a:pt x="211" y="212"/>
                    </a:lnTo>
                    <a:lnTo>
                      <a:pt x="220" y="212"/>
                    </a:lnTo>
                    <a:lnTo>
                      <a:pt x="211" y="221"/>
                    </a:lnTo>
                    <a:lnTo>
                      <a:pt x="220" y="212"/>
                    </a:lnTo>
                    <a:lnTo>
                      <a:pt x="211" y="221"/>
                    </a:lnTo>
                    <a:lnTo>
                      <a:pt x="211" y="221"/>
                    </a:lnTo>
                    <a:lnTo>
                      <a:pt x="202" y="221"/>
                    </a:lnTo>
                    <a:lnTo>
                      <a:pt x="202" y="212"/>
                    </a:lnTo>
                    <a:lnTo>
                      <a:pt x="202" y="221"/>
                    </a:lnTo>
                    <a:lnTo>
                      <a:pt x="194" y="221"/>
                    </a:lnTo>
                    <a:lnTo>
                      <a:pt x="194" y="212"/>
                    </a:lnTo>
                    <a:lnTo>
                      <a:pt x="194" y="212"/>
                    </a:lnTo>
                    <a:lnTo>
                      <a:pt x="194" y="221"/>
                    </a:lnTo>
                    <a:lnTo>
                      <a:pt x="194" y="221"/>
                    </a:lnTo>
                    <a:lnTo>
                      <a:pt x="202" y="230"/>
                    </a:lnTo>
                    <a:lnTo>
                      <a:pt x="202" y="230"/>
                    </a:lnTo>
                    <a:lnTo>
                      <a:pt x="202" y="238"/>
                    </a:lnTo>
                    <a:lnTo>
                      <a:pt x="194" y="238"/>
                    </a:lnTo>
                    <a:lnTo>
                      <a:pt x="194" y="230"/>
                    </a:lnTo>
                    <a:lnTo>
                      <a:pt x="194" y="238"/>
                    </a:lnTo>
                    <a:lnTo>
                      <a:pt x="194" y="247"/>
                    </a:lnTo>
                    <a:lnTo>
                      <a:pt x="194" y="247"/>
                    </a:lnTo>
                    <a:lnTo>
                      <a:pt x="185" y="247"/>
                    </a:lnTo>
                    <a:lnTo>
                      <a:pt x="176" y="247"/>
                    </a:lnTo>
                    <a:lnTo>
                      <a:pt x="176" y="238"/>
                    </a:lnTo>
                    <a:lnTo>
                      <a:pt x="176" y="230"/>
                    </a:lnTo>
                    <a:lnTo>
                      <a:pt x="176" y="230"/>
                    </a:lnTo>
                    <a:lnTo>
                      <a:pt x="167" y="221"/>
                    </a:lnTo>
                    <a:lnTo>
                      <a:pt x="167" y="221"/>
                    </a:lnTo>
                    <a:lnTo>
                      <a:pt x="167" y="212"/>
                    </a:lnTo>
                    <a:lnTo>
                      <a:pt x="158" y="212"/>
                    </a:lnTo>
                    <a:lnTo>
                      <a:pt x="150" y="203"/>
                    </a:lnTo>
                    <a:lnTo>
                      <a:pt x="150" y="203"/>
                    </a:lnTo>
                    <a:lnTo>
                      <a:pt x="150" y="194"/>
                    </a:lnTo>
                    <a:lnTo>
                      <a:pt x="150" y="194"/>
                    </a:lnTo>
                    <a:lnTo>
                      <a:pt x="141" y="185"/>
                    </a:lnTo>
                    <a:lnTo>
                      <a:pt x="141" y="177"/>
                    </a:lnTo>
                    <a:lnTo>
                      <a:pt x="132" y="168"/>
                    </a:lnTo>
                    <a:lnTo>
                      <a:pt x="123" y="168"/>
                    </a:lnTo>
                    <a:lnTo>
                      <a:pt x="123" y="168"/>
                    </a:lnTo>
                    <a:lnTo>
                      <a:pt x="123" y="168"/>
                    </a:lnTo>
                    <a:lnTo>
                      <a:pt x="114" y="159"/>
                    </a:lnTo>
                    <a:lnTo>
                      <a:pt x="114" y="159"/>
                    </a:lnTo>
                    <a:lnTo>
                      <a:pt x="106" y="150"/>
                    </a:lnTo>
                    <a:lnTo>
                      <a:pt x="106" y="150"/>
                    </a:lnTo>
                    <a:lnTo>
                      <a:pt x="106" y="150"/>
                    </a:lnTo>
                    <a:lnTo>
                      <a:pt x="106" y="141"/>
                    </a:lnTo>
                    <a:lnTo>
                      <a:pt x="97" y="141"/>
                    </a:lnTo>
                    <a:lnTo>
                      <a:pt x="88" y="132"/>
                    </a:lnTo>
                    <a:lnTo>
                      <a:pt x="88" y="132"/>
                    </a:lnTo>
                    <a:lnTo>
                      <a:pt x="88" y="124"/>
                    </a:lnTo>
                    <a:lnTo>
                      <a:pt x="79" y="124"/>
                    </a:lnTo>
                    <a:lnTo>
                      <a:pt x="70" y="115"/>
                    </a:lnTo>
                    <a:lnTo>
                      <a:pt x="62" y="115"/>
                    </a:lnTo>
                    <a:lnTo>
                      <a:pt x="44" y="97"/>
                    </a:lnTo>
                    <a:lnTo>
                      <a:pt x="44" y="88"/>
                    </a:lnTo>
                    <a:lnTo>
                      <a:pt x="35" y="88"/>
                    </a:lnTo>
                    <a:lnTo>
                      <a:pt x="35" y="79"/>
                    </a:lnTo>
                    <a:lnTo>
                      <a:pt x="35" y="70"/>
                    </a:lnTo>
                    <a:lnTo>
                      <a:pt x="26" y="79"/>
                    </a:lnTo>
                    <a:lnTo>
                      <a:pt x="18" y="70"/>
                    </a:lnTo>
                    <a:lnTo>
                      <a:pt x="9" y="70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3"/>
                    </a:lnTo>
                    <a:lnTo>
                      <a:pt x="9" y="44"/>
                    </a:lnTo>
                    <a:lnTo>
                      <a:pt x="18" y="35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3" name="Freeform 42"/>
              <p:cNvSpPr>
                <a:spLocks/>
              </p:cNvSpPr>
              <p:nvPr/>
            </p:nvSpPr>
            <p:spPr bwMode="auto">
              <a:xfrm>
                <a:off x="4140962" y="3149352"/>
                <a:ext cx="425298" cy="331383"/>
              </a:xfrm>
              <a:custGeom>
                <a:avLst/>
                <a:gdLst/>
                <a:ahLst/>
                <a:cxnLst>
                  <a:cxn ang="0">
                    <a:pos x="35" y="26"/>
                  </a:cxn>
                  <a:cxn ang="0">
                    <a:pos x="62" y="17"/>
                  </a:cxn>
                  <a:cxn ang="0">
                    <a:pos x="141" y="0"/>
                  </a:cxn>
                  <a:cxn ang="0">
                    <a:pos x="158" y="17"/>
                  </a:cxn>
                  <a:cxn ang="0">
                    <a:pos x="158" y="26"/>
                  </a:cxn>
                  <a:cxn ang="0">
                    <a:pos x="317" y="70"/>
                  </a:cxn>
                  <a:cxn ang="0">
                    <a:pos x="299" y="88"/>
                  </a:cxn>
                  <a:cxn ang="0">
                    <a:pos x="290" y="132"/>
                  </a:cxn>
                  <a:cxn ang="0">
                    <a:pos x="281" y="115"/>
                  </a:cxn>
                  <a:cxn ang="0">
                    <a:pos x="281" y="132"/>
                  </a:cxn>
                  <a:cxn ang="0">
                    <a:pos x="281" y="141"/>
                  </a:cxn>
                  <a:cxn ang="0">
                    <a:pos x="281" y="150"/>
                  </a:cxn>
                  <a:cxn ang="0">
                    <a:pos x="264" y="150"/>
                  </a:cxn>
                  <a:cxn ang="0">
                    <a:pos x="264" y="168"/>
                  </a:cxn>
                  <a:cxn ang="0">
                    <a:pos x="246" y="177"/>
                  </a:cxn>
                  <a:cxn ang="0">
                    <a:pos x="246" y="177"/>
                  </a:cxn>
                  <a:cxn ang="0">
                    <a:pos x="246" y="185"/>
                  </a:cxn>
                  <a:cxn ang="0">
                    <a:pos x="229" y="194"/>
                  </a:cxn>
                  <a:cxn ang="0">
                    <a:pos x="229" y="203"/>
                  </a:cxn>
                  <a:cxn ang="0">
                    <a:pos x="211" y="203"/>
                  </a:cxn>
                  <a:cxn ang="0">
                    <a:pos x="211" y="212"/>
                  </a:cxn>
                  <a:cxn ang="0">
                    <a:pos x="211" y="221"/>
                  </a:cxn>
                  <a:cxn ang="0">
                    <a:pos x="211" y="221"/>
                  </a:cxn>
                  <a:cxn ang="0">
                    <a:pos x="202" y="221"/>
                  </a:cxn>
                  <a:cxn ang="0">
                    <a:pos x="194" y="212"/>
                  </a:cxn>
                  <a:cxn ang="0">
                    <a:pos x="202" y="230"/>
                  </a:cxn>
                  <a:cxn ang="0">
                    <a:pos x="194" y="238"/>
                  </a:cxn>
                  <a:cxn ang="0">
                    <a:pos x="194" y="247"/>
                  </a:cxn>
                  <a:cxn ang="0">
                    <a:pos x="176" y="247"/>
                  </a:cxn>
                  <a:cxn ang="0">
                    <a:pos x="176" y="230"/>
                  </a:cxn>
                  <a:cxn ang="0">
                    <a:pos x="167" y="212"/>
                  </a:cxn>
                  <a:cxn ang="0">
                    <a:pos x="150" y="203"/>
                  </a:cxn>
                  <a:cxn ang="0">
                    <a:pos x="141" y="185"/>
                  </a:cxn>
                  <a:cxn ang="0">
                    <a:pos x="123" y="168"/>
                  </a:cxn>
                  <a:cxn ang="0">
                    <a:pos x="114" y="159"/>
                  </a:cxn>
                  <a:cxn ang="0">
                    <a:pos x="106" y="150"/>
                  </a:cxn>
                  <a:cxn ang="0">
                    <a:pos x="97" y="141"/>
                  </a:cxn>
                  <a:cxn ang="0">
                    <a:pos x="88" y="124"/>
                  </a:cxn>
                  <a:cxn ang="0">
                    <a:pos x="62" y="115"/>
                  </a:cxn>
                  <a:cxn ang="0">
                    <a:pos x="35" y="88"/>
                  </a:cxn>
                  <a:cxn ang="0">
                    <a:pos x="26" y="79"/>
                  </a:cxn>
                  <a:cxn ang="0">
                    <a:pos x="0" y="62"/>
                  </a:cxn>
                  <a:cxn ang="0">
                    <a:pos x="9" y="44"/>
                  </a:cxn>
                </a:cxnLst>
                <a:rect l="0" t="0" r="r" b="b"/>
                <a:pathLst>
                  <a:path w="317" h="247">
                    <a:moveTo>
                      <a:pt x="18" y="35"/>
                    </a:moveTo>
                    <a:lnTo>
                      <a:pt x="26" y="26"/>
                    </a:lnTo>
                    <a:lnTo>
                      <a:pt x="35" y="26"/>
                    </a:lnTo>
                    <a:lnTo>
                      <a:pt x="44" y="17"/>
                    </a:lnTo>
                    <a:lnTo>
                      <a:pt x="53" y="17"/>
                    </a:lnTo>
                    <a:lnTo>
                      <a:pt x="62" y="17"/>
                    </a:lnTo>
                    <a:lnTo>
                      <a:pt x="62" y="9"/>
                    </a:lnTo>
                    <a:lnTo>
                      <a:pt x="123" y="9"/>
                    </a:lnTo>
                    <a:lnTo>
                      <a:pt x="141" y="0"/>
                    </a:lnTo>
                    <a:lnTo>
                      <a:pt x="150" y="9"/>
                    </a:lnTo>
                    <a:lnTo>
                      <a:pt x="150" y="9"/>
                    </a:lnTo>
                    <a:lnTo>
                      <a:pt x="158" y="17"/>
                    </a:lnTo>
                    <a:lnTo>
                      <a:pt x="158" y="17"/>
                    </a:lnTo>
                    <a:lnTo>
                      <a:pt x="158" y="26"/>
                    </a:lnTo>
                    <a:lnTo>
                      <a:pt x="158" y="26"/>
                    </a:lnTo>
                    <a:lnTo>
                      <a:pt x="229" y="17"/>
                    </a:lnTo>
                    <a:lnTo>
                      <a:pt x="317" y="70"/>
                    </a:lnTo>
                    <a:lnTo>
                      <a:pt x="317" y="70"/>
                    </a:lnTo>
                    <a:lnTo>
                      <a:pt x="317" y="79"/>
                    </a:lnTo>
                    <a:lnTo>
                      <a:pt x="308" y="79"/>
                    </a:lnTo>
                    <a:lnTo>
                      <a:pt x="299" y="88"/>
                    </a:lnTo>
                    <a:lnTo>
                      <a:pt x="290" y="115"/>
                    </a:lnTo>
                    <a:lnTo>
                      <a:pt x="290" y="115"/>
                    </a:lnTo>
                    <a:lnTo>
                      <a:pt x="290" y="132"/>
                    </a:lnTo>
                    <a:lnTo>
                      <a:pt x="281" y="132"/>
                    </a:lnTo>
                    <a:lnTo>
                      <a:pt x="281" y="124"/>
                    </a:lnTo>
                    <a:lnTo>
                      <a:pt x="281" y="115"/>
                    </a:lnTo>
                    <a:lnTo>
                      <a:pt x="281" y="115"/>
                    </a:lnTo>
                    <a:lnTo>
                      <a:pt x="281" y="124"/>
                    </a:lnTo>
                    <a:lnTo>
                      <a:pt x="281" y="132"/>
                    </a:lnTo>
                    <a:lnTo>
                      <a:pt x="281" y="132"/>
                    </a:lnTo>
                    <a:lnTo>
                      <a:pt x="290" y="141"/>
                    </a:lnTo>
                    <a:lnTo>
                      <a:pt x="281" y="141"/>
                    </a:lnTo>
                    <a:lnTo>
                      <a:pt x="281" y="141"/>
                    </a:lnTo>
                    <a:lnTo>
                      <a:pt x="281" y="141"/>
                    </a:lnTo>
                    <a:lnTo>
                      <a:pt x="281" y="150"/>
                    </a:lnTo>
                    <a:lnTo>
                      <a:pt x="273" y="150"/>
                    </a:lnTo>
                    <a:lnTo>
                      <a:pt x="273" y="159"/>
                    </a:lnTo>
                    <a:lnTo>
                      <a:pt x="264" y="150"/>
                    </a:lnTo>
                    <a:lnTo>
                      <a:pt x="264" y="159"/>
                    </a:lnTo>
                    <a:lnTo>
                      <a:pt x="264" y="168"/>
                    </a:lnTo>
                    <a:lnTo>
                      <a:pt x="264" y="168"/>
                    </a:lnTo>
                    <a:lnTo>
                      <a:pt x="255" y="168"/>
                    </a:lnTo>
                    <a:lnTo>
                      <a:pt x="255" y="177"/>
                    </a:lnTo>
                    <a:lnTo>
                      <a:pt x="246" y="177"/>
                    </a:lnTo>
                    <a:lnTo>
                      <a:pt x="246" y="168"/>
                    </a:lnTo>
                    <a:lnTo>
                      <a:pt x="246" y="168"/>
                    </a:lnTo>
                    <a:lnTo>
                      <a:pt x="246" y="177"/>
                    </a:lnTo>
                    <a:lnTo>
                      <a:pt x="246" y="177"/>
                    </a:lnTo>
                    <a:lnTo>
                      <a:pt x="246" y="185"/>
                    </a:lnTo>
                    <a:lnTo>
                      <a:pt x="246" y="185"/>
                    </a:lnTo>
                    <a:lnTo>
                      <a:pt x="246" y="194"/>
                    </a:lnTo>
                    <a:lnTo>
                      <a:pt x="237" y="194"/>
                    </a:lnTo>
                    <a:lnTo>
                      <a:pt x="229" y="194"/>
                    </a:lnTo>
                    <a:lnTo>
                      <a:pt x="229" y="194"/>
                    </a:lnTo>
                    <a:lnTo>
                      <a:pt x="229" y="194"/>
                    </a:lnTo>
                    <a:lnTo>
                      <a:pt x="229" y="203"/>
                    </a:lnTo>
                    <a:lnTo>
                      <a:pt x="220" y="203"/>
                    </a:lnTo>
                    <a:lnTo>
                      <a:pt x="220" y="203"/>
                    </a:lnTo>
                    <a:lnTo>
                      <a:pt x="211" y="203"/>
                    </a:lnTo>
                    <a:lnTo>
                      <a:pt x="202" y="212"/>
                    </a:lnTo>
                    <a:lnTo>
                      <a:pt x="202" y="203"/>
                    </a:lnTo>
                    <a:lnTo>
                      <a:pt x="211" y="212"/>
                    </a:lnTo>
                    <a:lnTo>
                      <a:pt x="211" y="212"/>
                    </a:lnTo>
                    <a:lnTo>
                      <a:pt x="220" y="212"/>
                    </a:lnTo>
                    <a:lnTo>
                      <a:pt x="211" y="221"/>
                    </a:lnTo>
                    <a:lnTo>
                      <a:pt x="220" y="212"/>
                    </a:lnTo>
                    <a:lnTo>
                      <a:pt x="211" y="221"/>
                    </a:lnTo>
                    <a:lnTo>
                      <a:pt x="211" y="221"/>
                    </a:lnTo>
                    <a:lnTo>
                      <a:pt x="202" y="221"/>
                    </a:lnTo>
                    <a:lnTo>
                      <a:pt x="202" y="212"/>
                    </a:lnTo>
                    <a:lnTo>
                      <a:pt x="202" y="221"/>
                    </a:lnTo>
                    <a:lnTo>
                      <a:pt x="194" y="221"/>
                    </a:lnTo>
                    <a:lnTo>
                      <a:pt x="194" y="212"/>
                    </a:lnTo>
                    <a:lnTo>
                      <a:pt x="194" y="212"/>
                    </a:lnTo>
                    <a:lnTo>
                      <a:pt x="194" y="221"/>
                    </a:lnTo>
                    <a:lnTo>
                      <a:pt x="194" y="221"/>
                    </a:lnTo>
                    <a:lnTo>
                      <a:pt x="202" y="230"/>
                    </a:lnTo>
                    <a:lnTo>
                      <a:pt x="202" y="230"/>
                    </a:lnTo>
                    <a:lnTo>
                      <a:pt x="202" y="238"/>
                    </a:lnTo>
                    <a:lnTo>
                      <a:pt x="194" y="238"/>
                    </a:lnTo>
                    <a:lnTo>
                      <a:pt x="194" y="230"/>
                    </a:lnTo>
                    <a:lnTo>
                      <a:pt x="194" y="238"/>
                    </a:lnTo>
                    <a:lnTo>
                      <a:pt x="194" y="247"/>
                    </a:lnTo>
                    <a:lnTo>
                      <a:pt x="194" y="247"/>
                    </a:lnTo>
                    <a:lnTo>
                      <a:pt x="185" y="247"/>
                    </a:lnTo>
                    <a:lnTo>
                      <a:pt x="176" y="247"/>
                    </a:lnTo>
                    <a:lnTo>
                      <a:pt x="176" y="238"/>
                    </a:lnTo>
                    <a:lnTo>
                      <a:pt x="176" y="230"/>
                    </a:lnTo>
                    <a:lnTo>
                      <a:pt x="176" y="230"/>
                    </a:lnTo>
                    <a:lnTo>
                      <a:pt x="167" y="221"/>
                    </a:lnTo>
                    <a:lnTo>
                      <a:pt x="167" y="221"/>
                    </a:lnTo>
                    <a:lnTo>
                      <a:pt x="167" y="212"/>
                    </a:lnTo>
                    <a:lnTo>
                      <a:pt x="158" y="212"/>
                    </a:lnTo>
                    <a:lnTo>
                      <a:pt x="150" y="203"/>
                    </a:lnTo>
                    <a:lnTo>
                      <a:pt x="150" y="203"/>
                    </a:lnTo>
                    <a:lnTo>
                      <a:pt x="150" y="194"/>
                    </a:lnTo>
                    <a:lnTo>
                      <a:pt x="150" y="194"/>
                    </a:lnTo>
                    <a:lnTo>
                      <a:pt x="141" y="185"/>
                    </a:lnTo>
                    <a:lnTo>
                      <a:pt x="141" y="177"/>
                    </a:lnTo>
                    <a:lnTo>
                      <a:pt x="132" y="168"/>
                    </a:lnTo>
                    <a:lnTo>
                      <a:pt x="123" y="168"/>
                    </a:lnTo>
                    <a:lnTo>
                      <a:pt x="123" y="168"/>
                    </a:lnTo>
                    <a:lnTo>
                      <a:pt x="123" y="168"/>
                    </a:lnTo>
                    <a:lnTo>
                      <a:pt x="114" y="159"/>
                    </a:lnTo>
                    <a:lnTo>
                      <a:pt x="114" y="159"/>
                    </a:lnTo>
                    <a:lnTo>
                      <a:pt x="106" y="150"/>
                    </a:lnTo>
                    <a:lnTo>
                      <a:pt x="106" y="150"/>
                    </a:lnTo>
                    <a:lnTo>
                      <a:pt x="106" y="150"/>
                    </a:lnTo>
                    <a:lnTo>
                      <a:pt x="106" y="141"/>
                    </a:lnTo>
                    <a:lnTo>
                      <a:pt x="97" y="141"/>
                    </a:lnTo>
                    <a:lnTo>
                      <a:pt x="88" y="132"/>
                    </a:lnTo>
                    <a:lnTo>
                      <a:pt x="88" y="132"/>
                    </a:lnTo>
                    <a:lnTo>
                      <a:pt x="88" y="124"/>
                    </a:lnTo>
                    <a:lnTo>
                      <a:pt x="79" y="124"/>
                    </a:lnTo>
                    <a:lnTo>
                      <a:pt x="70" y="115"/>
                    </a:lnTo>
                    <a:lnTo>
                      <a:pt x="62" y="115"/>
                    </a:lnTo>
                    <a:lnTo>
                      <a:pt x="44" y="97"/>
                    </a:lnTo>
                    <a:lnTo>
                      <a:pt x="44" y="88"/>
                    </a:lnTo>
                    <a:lnTo>
                      <a:pt x="35" y="88"/>
                    </a:lnTo>
                    <a:lnTo>
                      <a:pt x="35" y="79"/>
                    </a:lnTo>
                    <a:lnTo>
                      <a:pt x="35" y="70"/>
                    </a:lnTo>
                    <a:lnTo>
                      <a:pt x="26" y="79"/>
                    </a:lnTo>
                    <a:lnTo>
                      <a:pt x="18" y="70"/>
                    </a:lnTo>
                    <a:lnTo>
                      <a:pt x="9" y="70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3"/>
                    </a:lnTo>
                    <a:lnTo>
                      <a:pt x="9" y="44"/>
                    </a:lnTo>
                    <a:lnTo>
                      <a:pt x="18" y="35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4" name="Freeform 43"/>
              <p:cNvSpPr>
                <a:spLocks/>
              </p:cNvSpPr>
              <p:nvPr/>
            </p:nvSpPr>
            <p:spPr bwMode="auto">
              <a:xfrm>
                <a:off x="2429040" y="2093489"/>
                <a:ext cx="578244" cy="391756"/>
              </a:xfrm>
              <a:custGeom>
                <a:avLst/>
                <a:gdLst/>
                <a:ahLst/>
                <a:cxnLst>
                  <a:cxn ang="0">
                    <a:pos x="0" y="239"/>
                  </a:cxn>
                  <a:cxn ang="0">
                    <a:pos x="9" y="79"/>
                  </a:cxn>
                  <a:cxn ang="0">
                    <a:pos x="18" y="71"/>
                  </a:cxn>
                  <a:cxn ang="0">
                    <a:pos x="18" y="0"/>
                  </a:cxn>
                  <a:cxn ang="0">
                    <a:pos x="115" y="9"/>
                  </a:cxn>
                  <a:cxn ang="0">
                    <a:pos x="229" y="17"/>
                  </a:cxn>
                  <a:cxn ang="0">
                    <a:pos x="326" y="17"/>
                  </a:cxn>
                  <a:cxn ang="0">
                    <a:pos x="431" y="17"/>
                  </a:cxn>
                  <a:cxn ang="0">
                    <a:pos x="422" y="26"/>
                  </a:cxn>
                  <a:cxn ang="0">
                    <a:pos x="422" y="35"/>
                  </a:cxn>
                  <a:cxn ang="0">
                    <a:pos x="414" y="35"/>
                  </a:cxn>
                  <a:cxn ang="0">
                    <a:pos x="414" y="44"/>
                  </a:cxn>
                  <a:cxn ang="0">
                    <a:pos x="414" y="44"/>
                  </a:cxn>
                  <a:cxn ang="0">
                    <a:pos x="414" y="44"/>
                  </a:cxn>
                  <a:cxn ang="0">
                    <a:pos x="422" y="62"/>
                  </a:cxn>
                  <a:cxn ang="0">
                    <a:pos x="422" y="62"/>
                  </a:cxn>
                  <a:cxn ang="0">
                    <a:pos x="431" y="62"/>
                  </a:cxn>
                  <a:cxn ang="0">
                    <a:pos x="431" y="71"/>
                  </a:cxn>
                  <a:cxn ang="0">
                    <a:pos x="431" y="212"/>
                  </a:cxn>
                  <a:cxn ang="0">
                    <a:pos x="422" y="212"/>
                  </a:cxn>
                  <a:cxn ang="0">
                    <a:pos x="431" y="212"/>
                  </a:cxn>
                  <a:cxn ang="0">
                    <a:pos x="431" y="221"/>
                  </a:cxn>
                  <a:cxn ang="0">
                    <a:pos x="431" y="230"/>
                  </a:cxn>
                  <a:cxn ang="0">
                    <a:pos x="431" y="230"/>
                  </a:cxn>
                  <a:cxn ang="0">
                    <a:pos x="431" y="230"/>
                  </a:cxn>
                  <a:cxn ang="0">
                    <a:pos x="431" y="239"/>
                  </a:cxn>
                  <a:cxn ang="0">
                    <a:pos x="431" y="239"/>
                  </a:cxn>
                  <a:cxn ang="0">
                    <a:pos x="431" y="247"/>
                  </a:cxn>
                  <a:cxn ang="0">
                    <a:pos x="431" y="256"/>
                  </a:cxn>
                  <a:cxn ang="0">
                    <a:pos x="431" y="265"/>
                  </a:cxn>
                  <a:cxn ang="0">
                    <a:pos x="431" y="265"/>
                  </a:cxn>
                  <a:cxn ang="0">
                    <a:pos x="422" y="265"/>
                  </a:cxn>
                  <a:cxn ang="0">
                    <a:pos x="422" y="274"/>
                  </a:cxn>
                  <a:cxn ang="0">
                    <a:pos x="431" y="274"/>
                  </a:cxn>
                  <a:cxn ang="0">
                    <a:pos x="431" y="292"/>
                  </a:cxn>
                  <a:cxn ang="0">
                    <a:pos x="431" y="283"/>
                  </a:cxn>
                  <a:cxn ang="0">
                    <a:pos x="422" y="283"/>
                  </a:cxn>
                  <a:cxn ang="0">
                    <a:pos x="422" y="274"/>
                  </a:cxn>
                  <a:cxn ang="0">
                    <a:pos x="414" y="274"/>
                  </a:cxn>
                  <a:cxn ang="0">
                    <a:pos x="414" y="274"/>
                  </a:cxn>
                  <a:cxn ang="0">
                    <a:pos x="405" y="274"/>
                  </a:cxn>
                  <a:cxn ang="0">
                    <a:pos x="405" y="265"/>
                  </a:cxn>
                  <a:cxn ang="0">
                    <a:pos x="405" y="265"/>
                  </a:cxn>
                  <a:cxn ang="0">
                    <a:pos x="396" y="265"/>
                  </a:cxn>
                  <a:cxn ang="0">
                    <a:pos x="387" y="256"/>
                  </a:cxn>
                  <a:cxn ang="0">
                    <a:pos x="361" y="265"/>
                  </a:cxn>
                  <a:cxn ang="0">
                    <a:pos x="352" y="256"/>
                  </a:cxn>
                  <a:cxn ang="0">
                    <a:pos x="352" y="265"/>
                  </a:cxn>
                  <a:cxn ang="0">
                    <a:pos x="343" y="265"/>
                  </a:cxn>
                  <a:cxn ang="0">
                    <a:pos x="326" y="256"/>
                  </a:cxn>
                  <a:cxn ang="0">
                    <a:pos x="317" y="247"/>
                  </a:cxn>
                  <a:cxn ang="0">
                    <a:pos x="255" y="247"/>
                  </a:cxn>
                  <a:cxn ang="0">
                    <a:pos x="159" y="247"/>
                  </a:cxn>
                  <a:cxn ang="0">
                    <a:pos x="62" y="239"/>
                  </a:cxn>
                  <a:cxn ang="0">
                    <a:pos x="0" y="239"/>
                  </a:cxn>
                </a:cxnLst>
                <a:rect l="0" t="0" r="r" b="b"/>
                <a:pathLst>
                  <a:path w="431" h="292">
                    <a:moveTo>
                      <a:pt x="0" y="239"/>
                    </a:moveTo>
                    <a:lnTo>
                      <a:pt x="9" y="79"/>
                    </a:lnTo>
                    <a:lnTo>
                      <a:pt x="18" y="71"/>
                    </a:lnTo>
                    <a:lnTo>
                      <a:pt x="18" y="0"/>
                    </a:lnTo>
                    <a:lnTo>
                      <a:pt x="115" y="9"/>
                    </a:lnTo>
                    <a:lnTo>
                      <a:pt x="229" y="17"/>
                    </a:lnTo>
                    <a:lnTo>
                      <a:pt x="326" y="17"/>
                    </a:lnTo>
                    <a:lnTo>
                      <a:pt x="431" y="17"/>
                    </a:lnTo>
                    <a:lnTo>
                      <a:pt x="422" y="26"/>
                    </a:lnTo>
                    <a:lnTo>
                      <a:pt x="422" y="35"/>
                    </a:lnTo>
                    <a:lnTo>
                      <a:pt x="414" y="35"/>
                    </a:lnTo>
                    <a:lnTo>
                      <a:pt x="414" y="44"/>
                    </a:lnTo>
                    <a:lnTo>
                      <a:pt x="414" y="44"/>
                    </a:lnTo>
                    <a:lnTo>
                      <a:pt x="414" y="44"/>
                    </a:lnTo>
                    <a:lnTo>
                      <a:pt x="422" y="62"/>
                    </a:lnTo>
                    <a:lnTo>
                      <a:pt x="422" y="62"/>
                    </a:lnTo>
                    <a:lnTo>
                      <a:pt x="431" y="62"/>
                    </a:lnTo>
                    <a:lnTo>
                      <a:pt x="431" y="71"/>
                    </a:lnTo>
                    <a:lnTo>
                      <a:pt x="431" y="212"/>
                    </a:lnTo>
                    <a:lnTo>
                      <a:pt x="422" y="212"/>
                    </a:lnTo>
                    <a:lnTo>
                      <a:pt x="431" y="212"/>
                    </a:lnTo>
                    <a:lnTo>
                      <a:pt x="431" y="221"/>
                    </a:lnTo>
                    <a:lnTo>
                      <a:pt x="431" y="230"/>
                    </a:lnTo>
                    <a:lnTo>
                      <a:pt x="431" y="230"/>
                    </a:lnTo>
                    <a:lnTo>
                      <a:pt x="431" y="230"/>
                    </a:lnTo>
                    <a:lnTo>
                      <a:pt x="431" y="239"/>
                    </a:lnTo>
                    <a:lnTo>
                      <a:pt x="431" y="239"/>
                    </a:lnTo>
                    <a:lnTo>
                      <a:pt x="431" y="247"/>
                    </a:lnTo>
                    <a:lnTo>
                      <a:pt x="431" y="256"/>
                    </a:lnTo>
                    <a:lnTo>
                      <a:pt x="431" y="265"/>
                    </a:lnTo>
                    <a:lnTo>
                      <a:pt x="431" y="265"/>
                    </a:lnTo>
                    <a:lnTo>
                      <a:pt x="422" y="265"/>
                    </a:lnTo>
                    <a:lnTo>
                      <a:pt x="422" y="274"/>
                    </a:lnTo>
                    <a:lnTo>
                      <a:pt x="431" y="274"/>
                    </a:lnTo>
                    <a:lnTo>
                      <a:pt x="431" y="292"/>
                    </a:lnTo>
                    <a:lnTo>
                      <a:pt x="431" y="283"/>
                    </a:lnTo>
                    <a:lnTo>
                      <a:pt x="422" y="283"/>
                    </a:lnTo>
                    <a:lnTo>
                      <a:pt x="422" y="274"/>
                    </a:lnTo>
                    <a:lnTo>
                      <a:pt x="414" y="274"/>
                    </a:lnTo>
                    <a:lnTo>
                      <a:pt x="414" y="274"/>
                    </a:lnTo>
                    <a:lnTo>
                      <a:pt x="405" y="274"/>
                    </a:lnTo>
                    <a:lnTo>
                      <a:pt x="405" y="265"/>
                    </a:lnTo>
                    <a:lnTo>
                      <a:pt x="405" y="265"/>
                    </a:lnTo>
                    <a:lnTo>
                      <a:pt x="396" y="265"/>
                    </a:lnTo>
                    <a:lnTo>
                      <a:pt x="387" y="256"/>
                    </a:lnTo>
                    <a:lnTo>
                      <a:pt x="361" y="265"/>
                    </a:lnTo>
                    <a:lnTo>
                      <a:pt x="352" y="256"/>
                    </a:lnTo>
                    <a:lnTo>
                      <a:pt x="352" y="265"/>
                    </a:lnTo>
                    <a:lnTo>
                      <a:pt x="343" y="265"/>
                    </a:lnTo>
                    <a:lnTo>
                      <a:pt x="326" y="256"/>
                    </a:lnTo>
                    <a:lnTo>
                      <a:pt x="317" y="247"/>
                    </a:lnTo>
                    <a:lnTo>
                      <a:pt x="255" y="247"/>
                    </a:lnTo>
                    <a:lnTo>
                      <a:pt x="159" y="247"/>
                    </a:lnTo>
                    <a:lnTo>
                      <a:pt x="62" y="239"/>
                    </a:lnTo>
                    <a:lnTo>
                      <a:pt x="0" y="239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5" name="Freeform 44"/>
              <p:cNvSpPr>
                <a:spLocks/>
              </p:cNvSpPr>
              <p:nvPr/>
            </p:nvSpPr>
            <p:spPr bwMode="auto">
              <a:xfrm>
                <a:off x="2429040" y="2093489"/>
                <a:ext cx="578244" cy="391756"/>
              </a:xfrm>
              <a:custGeom>
                <a:avLst/>
                <a:gdLst/>
                <a:ahLst/>
                <a:cxnLst>
                  <a:cxn ang="0">
                    <a:pos x="0" y="239"/>
                  </a:cxn>
                  <a:cxn ang="0">
                    <a:pos x="9" y="79"/>
                  </a:cxn>
                  <a:cxn ang="0">
                    <a:pos x="18" y="71"/>
                  </a:cxn>
                  <a:cxn ang="0">
                    <a:pos x="18" y="0"/>
                  </a:cxn>
                  <a:cxn ang="0">
                    <a:pos x="115" y="9"/>
                  </a:cxn>
                  <a:cxn ang="0">
                    <a:pos x="229" y="17"/>
                  </a:cxn>
                  <a:cxn ang="0">
                    <a:pos x="326" y="17"/>
                  </a:cxn>
                  <a:cxn ang="0">
                    <a:pos x="431" y="17"/>
                  </a:cxn>
                  <a:cxn ang="0">
                    <a:pos x="422" y="26"/>
                  </a:cxn>
                  <a:cxn ang="0">
                    <a:pos x="422" y="35"/>
                  </a:cxn>
                  <a:cxn ang="0">
                    <a:pos x="414" y="35"/>
                  </a:cxn>
                  <a:cxn ang="0">
                    <a:pos x="414" y="44"/>
                  </a:cxn>
                  <a:cxn ang="0">
                    <a:pos x="414" y="44"/>
                  </a:cxn>
                  <a:cxn ang="0">
                    <a:pos x="414" y="44"/>
                  </a:cxn>
                  <a:cxn ang="0">
                    <a:pos x="422" y="62"/>
                  </a:cxn>
                  <a:cxn ang="0">
                    <a:pos x="422" y="62"/>
                  </a:cxn>
                  <a:cxn ang="0">
                    <a:pos x="431" y="62"/>
                  </a:cxn>
                  <a:cxn ang="0">
                    <a:pos x="431" y="71"/>
                  </a:cxn>
                  <a:cxn ang="0">
                    <a:pos x="431" y="212"/>
                  </a:cxn>
                  <a:cxn ang="0">
                    <a:pos x="422" y="212"/>
                  </a:cxn>
                  <a:cxn ang="0">
                    <a:pos x="431" y="212"/>
                  </a:cxn>
                  <a:cxn ang="0">
                    <a:pos x="431" y="221"/>
                  </a:cxn>
                  <a:cxn ang="0">
                    <a:pos x="431" y="230"/>
                  </a:cxn>
                  <a:cxn ang="0">
                    <a:pos x="431" y="230"/>
                  </a:cxn>
                  <a:cxn ang="0">
                    <a:pos x="431" y="230"/>
                  </a:cxn>
                  <a:cxn ang="0">
                    <a:pos x="431" y="239"/>
                  </a:cxn>
                  <a:cxn ang="0">
                    <a:pos x="431" y="239"/>
                  </a:cxn>
                  <a:cxn ang="0">
                    <a:pos x="431" y="247"/>
                  </a:cxn>
                  <a:cxn ang="0">
                    <a:pos x="431" y="256"/>
                  </a:cxn>
                  <a:cxn ang="0">
                    <a:pos x="431" y="265"/>
                  </a:cxn>
                  <a:cxn ang="0">
                    <a:pos x="431" y="265"/>
                  </a:cxn>
                  <a:cxn ang="0">
                    <a:pos x="422" y="265"/>
                  </a:cxn>
                  <a:cxn ang="0">
                    <a:pos x="422" y="274"/>
                  </a:cxn>
                  <a:cxn ang="0">
                    <a:pos x="431" y="274"/>
                  </a:cxn>
                  <a:cxn ang="0">
                    <a:pos x="431" y="292"/>
                  </a:cxn>
                  <a:cxn ang="0">
                    <a:pos x="431" y="283"/>
                  </a:cxn>
                  <a:cxn ang="0">
                    <a:pos x="422" y="283"/>
                  </a:cxn>
                  <a:cxn ang="0">
                    <a:pos x="422" y="274"/>
                  </a:cxn>
                  <a:cxn ang="0">
                    <a:pos x="414" y="274"/>
                  </a:cxn>
                  <a:cxn ang="0">
                    <a:pos x="414" y="274"/>
                  </a:cxn>
                  <a:cxn ang="0">
                    <a:pos x="405" y="274"/>
                  </a:cxn>
                  <a:cxn ang="0">
                    <a:pos x="405" y="265"/>
                  </a:cxn>
                  <a:cxn ang="0">
                    <a:pos x="405" y="265"/>
                  </a:cxn>
                  <a:cxn ang="0">
                    <a:pos x="396" y="265"/>
                  </a:cxn>
                  <a:cxn ang="0">
                    <a:pos x="387" y="256"/>
                  </a:cxn>
                  <a:cxn ang="0">
                    <a:pos x="361" y="265"/>
                  </a:cxn>
                  <a:cxn ang="0">
                    <a:pos x="352" y="256"/>
                  </a:cxn>
                  <a:cxn ang="0">
                    <a:pos x="352" y="265"/>
                  </a:cxn>
                  <a:cxn ang="0">
                    <a:pos x="343" y="265"/>
                  </a:cxn>
                  <a:cxn ang="0">
                    <a:pos x="326" y="256"/>
                  </a:cxn>
                  <a:cxn ang="0">
                    <a:pos x="317" y="247"/>
                  </a:cxn>
                  <a:cxn ang="0">
                    <a:pos x="255" y="247"/>
                  </a:cxn>
                  <a:cxn ang="0">
                    <a:pos x="159" y="247"/>
                  </a:cxn>
                  <a:cxn ang="0">
                    <a:pos x="62" y="239"/>
                  </a:cxn>
                  <a:cxn ang="0">
                    <a:pos x="0" y="239"/>
                  </a:cxn>
                </a:cxnLst>
                <a:rect l="0" t="0" r="r" b="b"/>
                <a:pathLst>
                  <a:path w="431" h="292">
                    <a:moveTo>
                      <a:pt x="0" y="239"/>
                    </a:moveTo>
                    <a:lnTo>
                      <a:pt x="9" y="79"/>
                    </a:lnTo>
                    <a:lnTo>
                      <a:pt x="18" y="71"/>
                    </a:lnTo>
                    <a:lnTo>
                      <a:pt x="18" y="0"/>
                    </a:lnTo>
                    <a:lnTo>
                      <a:pt x="115" y="9"/>
                    </a:lnTo>
                    <a:lnTo>
                      <a:pt x="229" y="17"/>
                    </a:lnTo>
                    <a:lnTo>
                      <a:pt x="326" y="17"/>
                    </a:lnTo>
                    <a:lnTo>
                      <a:pt x="431" y="17"/>
                    </a:lnTo>
                    <a:lnTo>
                      <a:pt x="422" y="26"/>
                    </a:lnTo>
                    <a:lnTo>
                      <a:pt x="422" y="35"/>
                    </a:lnTo>
                    <a:lnTo>
                      <a:pt x="414" y="35"/>
                    </a:lnTo>
                    <a:lnTo>
                      <a:pt x="414" y="44"/>
                    </a:lnTo>
                    <a:lnTo>
                      <a:pt x="414" y="44"/>
                    </a:lnTo>
                    <a:lnTo>
                      <a:pt x="414" y="44"/>
                    </a:lnTo>
                    <a:lnTo>
                      <a:pt x="422" y="62"/>
                    </a:lnTo>
                    <a:lnTo>
                      <a:pt x="422" y="62"/>
                    </a:lnTo>
                    <a:lnTo>
                      <a:pt x="431" y="62"/>
                    </a:lnTo>
                    <a:lnTo>
                      <a:pt x="431" y="71"/>
                    </a:lnTo>
                    <a:lnTo>
                      <a:pt x="431" y="212"/>
                    </a:lnTo>
                    <a:lnTo>
                      <a:pt x="422" y="212"/>
                    </a:lnTo>
                    <a:lnTo>
                      <a:pt x="431" y="212"/>
                    </a:lnTo>
                    <a:lnTo>
                      <a:pt x="431" y="221"/>
                    </a:lnTo>
                    <a:lnTo>
                      <a:pt x="431" y="230"/>
                    </a:lnTo>
                    <a:lnTo>
                      <a:pt x="431" y="230"/>
                    </a:lnTo>
                    <a:lnTo>
                      <a:pt x="431" y="230"/>
                    </a:lnTo>
                    <a:lnTo>
                      <a:pt x="431" y="239"/>
                    </a:lnTo>
                    <a:lnTo>
                      <a:pt x="431" y="239"/>
                    </a:lnTo>
                    <a:lnTo>
                      <a:pt x="431" y="247"/>
                    </a:lnTo>
                    <a:lnTo>
                      <a:pt x="431" y="256"/>
                    </a:lnTo>
                    <a:lnTo>
                      <a:pt x="431" y="265"/>
                    </a:lnTo>
                    <a:lnTo>
                      <a:pt x="431" y="265"/>
                    </a:lnTo>
                    <a:lnTo>
                      <a:pt x="422" y="265"/>
                    </a:lnTo>
                    <a:lnTo>
                      <a:pt x="422" y="274"/>
                    </a:lnTo>
                    <a:lnTo>
                      <a:pt x="431" y="274"/>
                    </a:lnTo>
                    <a:lnTo>
                      <a:pt x="431" y="292"/>
                    </a:lnTo>
                    <a:lnTo>
                      <a:pt x="431" y="283"/>
                    </a:lnTo>
                    <a:lnTo>
                      <a:pt x="422" y="283"/>
                    </a:lnTo>
                    <a:lnTo>
                      <a:pt x="422" y="274"/>
                    </a:lnTo>
                    <a:lnTo>
                      <a:pt x="414" y="274"/>
                    </a:lnTo>
                    <a:lnTo>
                      <a:pt x="414" y="274"/>
                    </a:lnTo>
                    <a:lnTo>
                      <a:pt x="405" y="274"/>
                    </a:lnTo>
                    <a:lnTo>
                      <a:pt x="405" y="265"/>
                    </a:lnTo>
                    <a:lnTo>
                      <a:pt x="405" y="265"/>
                    </a:lnTo>
                    <a:lnTo>
                      <a:pt x="396" y="265"/>
                    </a:lnTo>
                    <a:lnTo>
                      <a:pt x="387" y="256"/>
                    </a:lnTo>
                    <a:lnTo>
                      <a:pt x="361" y="265"/>
                    </a:lnTo>
                    <a:lnTo>
                      <a:pt x="352" y="256"/>
                    </a:lnTo>
                    <a:lnTo>
                      <a:pt x="352" y="265"/>
                    </a:lnTo>
                    <a:lnTo>
                      <a:pt x="343" y="265"/>
                    </a:lnTo>
                    <a:lnTo>
                      <a:pt x="326" y="256"/>
                    </a:lnTo>
                    <a:lnTo>
                      <a:pt x="317" y="247"/>
                    </a:lnTo>
                    <a:lnTo>
                      <a:pt x="255" y="247"/>
                    </a:lnTo>
                    <a:lnTo>
                      <a:pt x="159" y="247"/>
                    </a:lnTo>
                    <a:lnTo>
                      <a:pt x="62" y="239"/>
                    </a:lnTo>
                    <a:lnTo>
                      <a:pt x="0" y="239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6" name="Freeform 53"/>
              <p:cNvSpPr>
                <a:spLocks/>
              </p:cNvSpPr>
              <p:nvPr/>
            </p:nvSpPr>
            <p:spPr bwMode="auto">
              <a:xfrm>
                <a:off x="871406" y="1809063"/>
                <a:ext cx="672158" cy="568852"/>
              </a:xfrm>
              <a:custGeom>
                <a:avLst/>
                <a:gdLst/>
                <a:ahLst/>
                <a:cxnLst>
                  <a:cxn ang="0">
                    <a:pos x="0" y="291"/>
                  </a:cxn>
                  <a:cxn ang="0">
                    <a:pos x="9" y="274"/>
                  </a:cxn>
                  <a:cxn ang="0">
                    <a:pos x="9" y="247"/>
                  </a:cxn>
                  <a:cxn ang="0">
                    <a:pos x="26" y="221"/>
                  </a:cxn>
                  <a:cxn ang="0">
                    <a:pos x="35" y="212"/>
                  </a:cxn>
                  <a:cxn ang="0">
                    <a:pos x="35" y="212"/>
                  </a:cxn>
                  <a:cxn ang="0">
                    <a:pos x="35" y="212"/>
                  </a:cxn>
                  <a:cxn ang="0">
                    <a:pos x="44" y="185"/>
                  </a:cxn>
                  <a:cxn ang="0">
                    <a:pos x="44" y="185"/>
                  </a:cxn>
                  <a:cxn ang="0">
                    <a:pos x="61" y="150"/>
                  </a:cxn>
                  <a:cxn ang="0">
                    <a:pos x="70" y="132"/>
                  </a:cxn>
                  <a:cxn ang="0">
                    <a:pos x="70" y="115"/>
                  </a:cxn>
                  <a:cxn ang="0">
                    <a:pos x="79" y="88"/>
                  </a:cxn>
                  <a:cxn ang="0">
                    <a:pos x="88" y="70"/>
                  </a:cxn>
                  <a:cxn ang="0">
                    <a:pos x="97" y="53"/>
                  </a:cxn>
                  <a:cxn ang="0">
                    <a:pos x="97" y="44"/>
                  </a:cxn>
                  <a:cxn ang="0">
                    <a:pos x="97" y="35"/>
                  </a:cxn>
                  <a:cxn ang="0">
                    <a:pos x="105" y="17"/>
                  </a:cxn>
                  <a:cxn ang="0">
                    <a:pos x="114" y="0"/>
                  </a:cxn>
                  <a:cxn ang="0">
                    <a:pos x="114" y="8"/>
                  </a:cxn>
                  <a:cxn ang="0">
                    <a:pos x="123" y="0"/>
                  </a:cxn>
                  <a:cxn ang="0">
                    <a:pos x="132" y="8"/>
                  </a:cxn>
                  <a:cxn ang="0">
                    <a:pos x="141" y="17"/>
                  </a:cxn>
                  <a:cxn ang="0">
                    <a:pos x="149" y="17"/>
                  </a:cxn>
                  <a:cxn ang="0">
                    <a:pos x="167" y="35"/>
                  </a:cxn>
                  <a:cxn ang="0">
                    <a:pos x="167" y="70"/>
                  </a:cxn>
                  <a:cxn ang="0">
                    <a:pos x="185" y="79"/>
                  </a:cxn>
                  <a:cxn ang="0">
                    <a:pos x="202" y="70"/>
                  </a:cxn>
                  <a:cxn ang="0">
                    <a:pos x="220" y="70"/>
                  </a:cxn>
                  <a:cxn ang="0">
                    <a:pos x="237" y="79"/>
                  </a:cxn>
                  <a:cxn ang="0">
                    <a:pos x="255" y="88"/>
                  </a:cxn>
                  <a:cxn ang="0">
                    <a:pos x="281" y="88"/>
                  </a:cxn>
                  <a:cxn ang="0">
                    <a:pos x="299" y="88"/>
                  </a:cxn>
                  <a:cxn ang="0">
                    <a:pos x="334" y="88"/>
                  </a:cxn>
                  <a:cxn ang="0">
                    <a:pos x="352" y="88"/>
                  </a:cxn>
                  <a:cxn ang="0">
                    <a:pos x="369" y="88"/>
                  </a:cxn>
                  <a:cxn ang="0">
                    <a:pos x="484" y="115"/>
                  </a:cxn>
                  <a:cxn ang="0">
                    <a:pos x="492" y="132"/>
                  </a:cxn>
                  <a:cxn ang="0">
                    <a:pos x="484" y="159"/>
                  </a:cxn>
                  <a:cxn ang="0">
                    <a:pos x="466" y="194"/>
                  </a:cxn>
                  <a:cxn ang="0">
                    <a:pos x="449" y="212"/>
                  </a:cxn>
                  <a:cxn ang="0">
                    <a:pos x="440" y="238"/>
                  </a:cxn>
                  <a:cxn ang="0">
                    <a:pos x="449" y="247"/>
                  </a:cxn>
                  <a:cxn ang="0">
                    <a:pos x="449" y="265"/>
                  </a:cxn>
                  <a:cxn ang="0">
                    <a:pos x="440" y="283"/>
                  </a:cxn>
                  <a:cxn ang="0">
                    <a:pos x="237" y="380"/>
                  </a:cxn>
                  <a:cxn ang="0">
                    <a:pos x="0" y="318"/>
                  </a:cxn>
                </a:cxnLst>
                <a:rect l="0" t="0" r="r" b="b"/>
                <a:pathLst>
                  <a:path w="501" h="424">
                    <a:moveTo>
                      <a:pt x="0" y="318"/>
                    </a:moveTo>
                    <a:lnTo>
                      <a:pt x="0" y="309"/>
                    </a:lnTo>
                    <a:lnTo>
                      <a:pt x="0" y="291"/>
                    </a:lnTo>
                    <a:lnTo>
                      <a:pt x="0" y="283"/>
                    </a:lnTo>
                    <a:lnTo>
                      <a:pt x="0" y="274"/>
                    </a:lnTo>
                    <a:lnTo>
                      <a:pt x="9" y="274"/>
                    </a:lnTo>
                    <a:lnTo>
                      <a:pt x="9" y="265"/>
                    </a:lnTo>
                    <a:lnTo>
                      <a:pt x="9" y="256"/>
                    </a:lnTo>
                    <a:lnTo>
                      <a:pt x="9" y="247"/>
                    </a:lnTo>
                    <a:lnTo>
                      <a:pt x="17" y="229"/>
                    </a:lnTo>
                    <a:lnTo>
                      <a:pt x="26" y="212"/>
                    </a:lnTo>
                    <a:lnTo>
                      <a:pt x="26" y="221"/>
                    </a:lnTo>
                    <a:lnTo>
                      <a:pt x="26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03"/>
                    </a:lnTo>
                    <a:lnTo>
                      <a:pt x="35" y="194"/>
                    </a:lnTo>
                    <a:lnTo>
                      <a:pt x="44" y="185"/>
                    </a:lnTo>
                    <a:lnTo>
                      <a:pt x="53" y="185"/>
                    </a:lnTo>
                    <a:lnTo>
                      <a:pt x="44" y="185"/>
                    </a:lnTo>
                    <a:lnTo>
                      <a:pt x="44" y="185"/>
                    </a:lnTo>
                    <a:lnTo>
                      <a:pt x="44" y="185"/>
                    </a:lnTo>
                    <a:lnTo>
                      <a:pt x="44" y="176"/>
                    </a:lnTo>
                    <a:lnTo>
                      <a:pt x="61" y="150"/>
                    </a:lnTo>
                    <a:lnTo>
                      <a:pt x="61" y="141"/>
                    </a:lnTo>
                    <a:lnTo>
                      <a:pt x="61" y="141"/>
                    </a:lnTo>
                    <a:lnTo>
                      <a:pt x="70" y="132"/>
                    </a:lnTo>
                    <a:lnTo>
                      <a:pt x="70" y="132"/>
                    </a:lnTo>
                    <a:lnTo>
                      <a:pt x="70" y="123"/>
                    </a:lnTo>
                    <a:lnTo>
                      <a:pt x="70" y="115"/>
                    </a:lnTo>
                    <a:lnTo>
                      <a:pt x="70" y="106"/>
                    </a:lnTo>
                    <a:lnTo>
                      <a:pt x="79" y="97"/>
                    </a:lnTo>
                    <a:lnTo>
                      <a:pt x="79" y="88"/>
                    </a:lnTo>
                    <a:lnTo>
                      <a:pt x="88" y="79"/>
                    </a:lnTo>
                    <a:lnTo>
                      <a:pt x="88" y="70"/>
                    </a:lnTo>
                    <a:lnTo>
                      <a:pt x="88" y="70"/>
                    </a:lnTo>
                    <a:lnTo>
                      <a:pt x="88" y="61"/>
                    </a:lnTo>
                    <a:lnTo>
                      <a:pt x="97" y="61"/>
                    </a:lnTo>
                    <a:lnTo>
                      <a:pt x="97" y="53"/>
                    </a:lnTo>
                    <a:lnTo>
                      <a:pt x="97" y="53"/>
                    </a:lnTo>
                    <a:lnTo>
                      <a:pt x="97" y="53"/>
                    </a:lnTo>
                    <a:lnTo>
                      <a:pt x="97" y="44"/>
                    </a:lnTo>
                    <a:lnTo>
                      <a:pt x="105" y="44"/>
                    </a:lnTo>
                    <a:lnTo>
                      <a:pt x="97" y="35"/>
                    </a:lnTo>
                    <a:lnTo>
                      <a:pt x="97" y="35"/>
                    </a:lnTo>
                    <a:lnTo>
                      <a:pt x="105" y="26"/>
                    </a:lnTo>
                    <a:lnTo>
                      <a:pt x="105" y="26"/>
                    </a:lnTo>
                    <a:lnTo>
                      <a:pt x="105" y="17"/>
                    </a:lnTo>
                    <a:lnTo>
                      <a:pt x="105" y="17"/>
                    </a:lnTo>
                    <a:lnTo>
                      <a:pt x="105" y="8"/>
                    </a:lnTo>
                    <a:lnTo>
                      <a:pt x="114" y="0"/>
                    </a:lnTo>
                    <a:lnTo>
                      <a:pt x="114" y="8"/>
                    </a:lnTo>
                    <a:lnTo>
                      <a:pt x="114" y="8"/>
                    </a:lnTo>
                    <a:lnTo>
                      <a:pt x="114" y="8"/>
                    </a:lnTo>
                    <a:lnTo>
                      <a:pt x="114" y="8"/>
                    </a:lnTo>
                    <a:lnTo>
                      <a:pt x="114" y="0"/>
                    </a:lnTo>
                    <a:lnTo>
                      <a:pt x="123" y="0"/>
                    </a:lnTo>
                    <a:lnTo>
                      <a:pt x="123" y="8"/>
                    </a:lnTo>
                    <a:lnTo>
                      <a:pt x="123" y="8"/>
                    </a:lnTo>
                    <a:lnTo>
                      <a:pt x="132" y="8"/>
                    </a:lnTo>
                    <a:lnTo>
                      <a:pt x="132" y="8"/>
                    </a:lnTo>
                    <a:lnTo>
                      <a:pt x="141" y="17"/>
                    </a:lnTo>
                    <a:lnTo>
                      <a:pt x="141" y="17"/>
                    </a:lnTo>
                    <a:lnTo>
                      <a:pt x="141" y="17"/>
                    </a:lnTo>
                    <a:lnTo>
                      <a:pt x="149" y="17"/>
                    </a:lnTo>
                    <a:lnTo>
                      <a:pt x="149" y="17"/>
                    </a:lnTo>
                    <a:lnTo>
                      <a:pt x="158" y="17"/>
                    </a:lnTo>
                    <a:lnTo>
                      <a:pt x="158" y="26"/>
                    </a:lnTo>
                    <a:lnTo>
                      <a:pt x="167" y="35"/>
                    </a:lnTo>
                    <a:lnTo>
                      <a:pt x="158" y="61"/>
                    </a:lnTo>
                    <a:lnTo>
                      <a:pt x="167" y="61"/>
                    </a:lnTo>
                    <a:lnTo>
                      <a:pt x="167" y="70"/>
                    </a:lnTo>
                    <a:lnTo>
                      <a:pt x="176" y="70"/>
                    </a:lnTo>
                    <a:lnTo>
                      <a:pt x="176" y="70"/>
                    </a:lnTo>
                    <a:lnTo>
                      <a:pt x="185" y="79"/>
                    </a:lnTo>
                    <a:lnTo>
                      <a:pt x="193" y="79"/>
                    </a:lnTo>
                    <a:lnTo>
                      <a:pt x="202" y="70"/>
                    </a:lnTo>
                    <a:lnTo>
                      <a:pt x="202" y="70"/>
                    </a:lnTo>
                    <a:lnTo>
                      <a:pt x="211" y="70"/>
                    </a:lnTo>
                    <a:lnTo>
                      <a:pt x="211" y="70"/>
                    </a:lnTo>
                    <a:lnTo>
                      <a:pt x="220" y="70"/>
                    </a:lnTo>
                    <a:lnTo>
                      <a:pt x="229" y="70"/>
                    </a:lnTo>
                    <a:lnTo>
                      <a:pt x="237" y="79"/>
                    </a:lnTo>
                    <a:lnTo>
                      <a:pt x="237" y="79"/>
                    </a:lnTo>
                    <a:lnTo>
                      <a:pt x="246" y="79"/>
                    </a:lnTo>
                    <a:lnTo>
                      <a:pt x="246" y="88"/>
                    </a:lnTo>
                    <a:lnTo>
                      <a:pt x="255" y="88"/>
                    </a:lnTo>
                    <a:lnTo>
                      <a:pt x="264" y="88"/>
                    </a:lnTo>
                    <a:lnTo>
                      <a:pt x="273" y="79"/>
                    </a:lnTo>
                    <a:lnTo>
                      <a:pt x="281" y="88"/>
                    </a:lnTo>
                    <a:lnTo>
                      <a:pt x="281" y="88"/>
                    </a:lnTo>
                    <a:lnTo>
                      <a:pt x="290" y="88"/>
                    </a:lnTo>
                    <a:lnTo>
                      <a:pt x="299" y="88"/>
                    </a:lnTo>
                    <a:lnTo>
                      <a:pt x="308" y="88"/>
                    </a:lnTo>
                    <a:lnTo>
                      <a:pt x="317" y="88"/>
                    </a:lnTo>
                    <a:lnTo>
                      <a:pt x="334" y="88"/>
                    </a:lnTo>
                    <a:lnTo>
                      <a:pt x="334" y="88"/>
                    </a:lnTo>
                    <a:lnTo>
                      <a:pt x="343" y="88"/>
                    </a:lnTo>
                    <a:lnTo>
                      <a:pt x="352" y="88"/>
                    </a:lnTo>
                    <a:lnTo>
                      <a:pt x="361" y="88"/>
                    </a:lnTo>
                    <a:lnTo>
                      <a:pt x="361" y="88"/>
                    </a:lnTo>
                    <a:lnTo>
                      <a:pt x="369" y="88"/>
                    </a:lnTo>
                    <a:lnTo>
                      <a:pt x="413" y="97"/>
                    </a:lnTo>
                    <a:lnTo>
                      <a:pt x="484" y="115"/>
                    </a:lnTo>
                    <a:lnTo>
                      <a:pt x="484" y="115"/>
                    </a:lnTo>
                    <a:lnTo>
                      <a:pt x="484" y="123"/>
                    </a:lnTo>
                    <a:lnTo>
                      <a:pt x="484" y="123"/>
                    </a:lnTo>
                    <a:lnTo>
                      <a:pt x="492" y="132"/>
                    </a:lnTo>
                    <a:lnTo>
                      <a:pt x="501" y="141"/>
                    </a:lnTo>
                    <a:lnTo>
                      <a:pt x="492" y="150"/>
                    </a:lnTo>
                    <a:lnTo>
                      <a:pt x="484" y="159"/>
                    </a:lnTo>
                    <a:lnTo>
                      <a:pt x="475" y="176"/>
                    </a:lnTo>
                    <a:lnTo>
                      <a:pt x="466" y="185"/>
                    </a:lnTo>
                    <a:lnTo>
                      <a:pt x="466" y="194"/>
                    </a:lnTo>
                    <a:lnTo>
                      <a:pt x="466" y="194"/>
                    </a:lnTo>
                    <a:lnTo>
                      <a:pt x="457" y="203"/>
                    </a:lnTo>
                    <a:lnTo>
                      <a:pt x="449" y="212"/>
                    </a:lnTo>
                    <a:lnTo>
                      <a:pt x="449" y="221"/>
                    </a:lnTo>
                    <a:lnTo>
                      <a:pt x="440" y="221"/>
                    </a:lnTo>
                    <a:lnTo>
                      <a:pt x="440" y="238"/>
                    </a:lnTo>
                    <a:lnTo>
                      <a:pt x="440" y="238"/>
                    </a:lnTo>
                    <a:lnTo>
                      <a:pt x="440" y="247"/>
                    </a:lnTo>
                    <a:lnTo>
                      <a:pt x="449" y="247"/>
                    </a:lnTo>
                    <a:lnTo>
                      <a:pt x="449" y="247"/>
                    </a:lnTo>
                    <a:lnTo>
                      <a:pt x="449" y="256"/>
                    </a:lnTo>
                    <a:lnTo>
                      <a:pt x="449" y="265"/>
                    </a:lnTo>
                    <a:lnTo>
                      <a:pt x="440" y="274"/>
                    </a:lnTo>
                    <a:lnTo>
                      <a:pt x="440" y="274"/>
                    </a:lnTo>
                    <a:lnTo>
                      <a:pt x="440" y="283"/>
                    </a:lnTo>
                    <a:lnTo>
                      <a:pt x="405" y="424"/>
                    </a:lnTo>
                    <a:lnTo>
                      <a:pt x="334" y="406"/>
                    </a:lnTo>
                    <a:lnTo>
                      <a:pt x="237" y="380"/>
                    </a:lnTo>
                    <a:lnTo>
                      <a:pt x="132" y="353"/>
                    </a:lnTo>
                    <a:lnTo>
                      <a:pt x="9" y="318"/>
                    </a:lnTo>
                    <a:lnTo>
                      <a:pt x="0" y="318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7" name="Freeform 54"/>
              <p:cNvSpPr>
                <a:spLocks/>
              </p:cNvSpPr>
              <p:nvPr/>
            </p:nvSpPr>
            <p:spPr bwMode="auto">
              <a:xfrm>
                <a:off x="871406" y="1809063"/>
                <a:ext cx="672158" cy="568852"/>
              </a:xfrm>
              <a:custGeom>
                <a:avLst/>
                <a:gdLst/>
                <a:ahLst/>
                <a:cxnLst>
                  <a:cxn ang="0">
                    <a:pos x="0" y="291"/>
                  </a:cxn>
                  <a:cxn ang="0">
                    <a:pos x="9" y="274"/>
                  </a:cxn>
                  <a:cxn ang="0">
                    <a:pos x="9" y="247"/>
                  </a:cxn>
                  <a:cxn ang="0">
                    <a:pos x="26" y="221"/>
                  </a:cxn>
                  <a:cxn ang="0">
                    <a:pos x="35" y="212"/>
                  </a:cxn>
                  <a:cxn ang="0">
                    <a:pos x="35" y="212"/>
                  </a:cxn>
                  <a:cxn ang="0">
                    <a:pos x="35" y="212"/>
                  </a:cxn>
                  <a:cxn ang="0">
                    <a:pos x="44" y="185"/>
                  </a:cxn>
                  <a:cxn ang="0">
                    <a:pos x="44" y="185"/>
                  </a:cxn>
                  <a:cxn ang="0">
                    <a:pos x="61" y="150"/>
                  </a:cxn>
                  <a:cxn ang="0">
                    <a:pos x="70" y="132"/>
                  </a:cxn>
                  <a:cxn ang="0">
                    <a:pos x="70" y="115"/>
                  </a:cxn>
                  <a:cxn ang="0">
                    <a:pos x="79" y="88"/>
                  </a:cxn>
                  <a:cxn ang="0">
                    <a:pos x="88" y="70"/>
                  </a:cxn>
                  <a:cxn ang="0">
                    <a:pos x="97" y="53"/>
                  </a:cxn>
                  <a:cxn ang="0">
                    <a:pos x="97" y="44"/>
                  </a:cxn>
                  <a:cxn ang="0">
                    <a:pos x="97" y="35"/>
                  </a:cxn>
                  <a:cxn ang="0">
                    <a:pos x="105" y="17"/>
                  </a:cxn>
                  <a:cxn ang="0">
                    <a:pos x="114" y="0"/>
                  </a:cxn>
                  <a:cxn ang="0">
                    <a:pos x="114" y="8"/>
                  </a:cxn>
                  <a:cxn ang="0">
                    <a:pos x="123" y="0"/>
                  </a:cxn>
                  <a:cxn ang="0">
                    <a:pos x="132" y="8"/>
                  </a:cxn>
                  <a:cxn ang="0">
                    <a:pos x="141" y="17"/>
                  </a:cxn>
                  <a:cxn ang="0">
                    <a:pos x="149" y="17"/>
                  </a:cxn>
                  <a:cxn ang="0">
                    <a:pos x="167" y="35"/>
                  </a:cxn>
                  <a:cxn ang="0">
                    <a:pos x="167" y="70"/>
                  </a:cxn>
                  <a:cxn ang="0">
                    <a:pos x="185" y="79"/>
                  </a:cxn>
                  <a:cxn ang="0">
                    <a:pos x="202" y="70"/>
                  </a:cxn>
                  <a:cxn ang="0">
                    <a:pos x="220" y="70"/>
                  </a:cxn>
                  <a:cxn ang="0">
                    <a:pos x="237" y="79"/>
                  </a:cxn>
                  <a:cxn ang="0">
                    <a:pos x="255" y="88"/>
                  </a:cxn>
                  <a:cxn ang="0">
                    <a:pos x="281" y="88"/>
                  </a:cxn>
                  <a:cxn ang="0">
                    <a:pos x="299" y="88"/>
                  </a:cxn>
                  <a:cxn ang="0">
                    <a:pos x="334" y="88"/>
                  </a:cxn>
                  <a:cxn ang="0">
                    <a:pos x="352" y="88"/>
                  </a:cxn>
                  <a:cxn ang="0">
                    <a:pos x="369" y="88"/>
                  </a:cxn>
                  <a:cxn ang="0">
                    <a:pos x="484" y="115"/>
                  </a:cxn>
                  <a:cxn ang="0">
                    <a:pos x="492" y="132"/>
                  </a:cxn>
                  <a:cxn ang="0">
                    <a:pos x="484" y="159"/>
                  </a:cxn>
                  <a:cxn ang="0">
                    <a:pos x="466" y="194"/>
                  </a:cxn>
                  <a:cxn ang="0">
                    <a:pos x="449" y="212"/>
                  </a:cxn>
                  <a:cxn ang="0">
                    <a:pos x="440" y="238"/>
                  </a:cxn>
                  <a:cxn ang="0">
                    <a:pos x="449" y="247"/>
                  </a:cxn>
                  <a:cxn ang="0">
                    <a:pos x="449" y="265"/>
                  </a:cxn>
                  <a:cxn ang="0">
                    <a:pos x="440" y="283"/>
                  </a:cxn>
                  <a:cxn ang="0">
                    <a:pos x="237" y="380"/>
                  </a:cxn>
                  <a:cxn ang="0">
                    <a:pos x="0" y="318"/>
                  </a:cxn>
                </a:cxnLst>
                <a:rect l="0" t="0" r="r" b="b"/>
                <a:pathLst>
                  <a:path w="501" h="424">
                    <a:moveTo>
                      <a:pt x="0" y="318"/>
                    </a:moveTo>
                    <a:lnTo>
                      <a:pt x="0" y="309"/>
                    </a:lnTo>
                    <a:lnTo>
                      <a:pt x="0" y="291"/>
                    </a:lnTo>
                    <a:lnTo>
                      <a:pt x="0" y="283"/>
                    </a:lnTo>
                    <a:lnTo>
                      <a:pt x="0" y="274"/>
                    </a:lnTo>
                    <a:lnTo>
                      <a:pt x="9" y="274"/>
                    </a:lnTo>
                    <a:lnTo>
                      <a:pt x="9" y="265"/>
                    </a:lnTo>
                    <a:lnTo>
                      <a:pt x="9" y="256"/>
                    </a:lnTo>
                    <a:lnTo>
                      <a:pt x="9" y="247"/>
                    </a:lnTo>
                    <a:lnTo>
                      <a:pt x="17" y="229"/>
                    </a:lnTo>
                    <a:lnTo>
                      <a:pt x="26" y="212"/>
                    </a:lnTo>
                    <a:lnTo>
                      <a:pt x="26" y="221"/>
                    </a:lnTo>
                    <a:lnTo>
                      <a:pt x="26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12"/>
                    </a:lnTo>
                    <a:lnTo>
                      <a:pt x="35" y="203"/>
                    </a:lnTo>
                    <a:lnTo>
                      <a:pt x="35" y="194"/>
                    </a:lnTo>
                    <a:lnTo>
                      <a:pt x="44" y="185"/>
                    </a:lnTo>
                    <a:lnTo>
                      <a:pt x="53" y="185"/>
                    </a:lnTo>
                    <a:lnTo>
                      <a:pt x="44" y="185"/>
                    </a:lnTo>
                    <a:lnTo>
                      <a:pt x="44" y="185"/>
                    </a:lnTo>
                    <a:lnTo>
                      <a:pt x="44" y="185"/>
                    </a:lnTo>
                    <a:lnTo>
                      <a:pt x="44" y="176"/>
                    </a:lnTo>
                    <a:lnTo>
                      <a:pt x="61" y="150"/>
                    </a:lnTo>
                    <a:lnTo>
                      <a:pt x="61" y="141"/>
                    </a:lnTo>
                    <a:lnTo>
                      <a:pt x="61" y="141"/>
                    </a:lnTo>
                    <a:lnTo>
                      <a:pt x="70" y="132"/>
                    </a:lnTo>
                    <a:lnTo>
                      <a:pt x="70" y="132"/>
                    </a:lnTo>
                    <a:lnTo>
                      <a:pt x="70" y="123"/>
                    </a:lnTo>
                    <a:lnTo>
                      <a:pt x="70" y="115"/>
                    </a:lnTo>
                    <a:lnTo>
                      <a:pt x="70" y="106"/>
                    </a:lnTo>
                    <a:lnTo>
                      <a:pt x="79" y="97"/>
                    </a:lnTo>
                    <a:lnTo>
                      <a:pt x="79" y="88"/>
                    </a:lnTo>
                    <a:lnTo>
                      <a:pt x="88" y="79"/>
                    </a:lnTo>
                    <a:lnTo>
                      <a:pt x="88" y="70"/>
                    </a:lnTo>
                    <a:lnTo>
                      <a:pt x="88" y="70"/>
                    </a:lnTo>
                    <a:lnTo>
                      <a:pt x="88" y="61"/>
                    </a:lnTo>
                    <a:lnTo>
                      <a:pt x="97" y="61"/>
                    </a:lnTo>
                    <a:lnTo>
                      <a:pt x="97" y="53"/>
                    </a:lnTo>
                    <a:lnTo>
                      <a:pt x="97" y="53"/>
                    </a:lnTo>
                    <a:lnTo>
                      <a:pt x="97" y="53"/>
                    </a:lnTo>
                    <a:lnTo>
                      <a:pt x="97" y="44"/>
                    </a:lnTo>
                    <a:lnTo>
                      <a:pt x="105" y="44"/>
                    </a:lnTo>
                    <a:lnTo>
                      <a:pt x="97" y="35"/>
                    </a:lnTo>
                    <a:lnTo>
                      <a:pt x="97" y="35"/>
                    </a:lnTo>
                    <a:lnTo>
                      <a:pt x="105" y="26"/>
                    </a:lnTo>
                    <a:lnTo>
                      <a:pt x="105" y="26"/>
                    </a:lnTo>
                    <a:lnTo>
                      <a:pt x="105" y="17"/>
                    </a:lnTo>
                    <a:lnTo>
                      <a:pt x="105" y="17"/>
                    </a:lnTo>
                    <a:lnTo>
                      <a:pt x="105" y="8"/>
                    </a:lnTo>
                    <a:lnTo>
                      <a:pt x="114" y="0"/>
                    </a:lnTo>
                    <a:lnTo>
                      <a:pt x="114" y="8"/>
                    </a:lnTo>
                    <a:lnTo>
                      <a:pt x="114" y="8"/>
                    </a:lnTo>
                    <a:lnTo>
                      <a:pt x="114" y="8"/>
                    </a:lnTo>
                    <a:lnTo>
                      <a:pt x="114" y="8"/>
                    </a:lnTo>
                    <a:lnTo>
                      <a:pt x="114" y="0"/>
                    </a:lnTo>
                    <a:lnTo>
                      <a:pt x="123" y="0"/>
                    </a:lnTo>
                    <a:lnTo>
                      <a:pt x="123" y="8"/>
                    </a:lnTo>
                    <a:lnTo>
                      <a:pt x="123" y="8"/>
                    </a:lnTo>
                    <a:lnTo>
                      <a:pt x="132" y="8"/>
                    </a:lnTo>
                    <a:lnTo>
                      <a:pt x="132" y="8"/>
                    </a:lnTo>
                    <a:lnTo>
                      <a:pt x="141" y="17"/>
                    </a:lnTo>
                    <a:lnTo>
                      <a:pt x="141" y="17"/>
                    </a:lnTo>
                    <a:lnTo>
                      <a:pt x="141" y="17"/>
                    </a:lnTo>
                    <a:lnTo>
                      <a:pt x="149" y="17"/>
                    </a:lnTo>
                    <a:lnTo>
                      <a:pt x="149" y="17"/>
                    </a:lnTo>
                    <a:lnTo>
                      <a:pt x="158" y="17"/>
                    </a:lnTo>
                    <a:lnTo>
                      <a:pt x="158" y="26"/>
                    </a:lnTo>
                    <a:lnTo>
                      <a:pt x="167" y="35"/>
                    </a:lnTo>
                    <a:lnTo>
                      <a:pt x="158" y="61"/>
                    </a:lnTo>
                    <a:lnTo>
                      <a:pt x="167" y="61"/>
                    </a:lnTo>
                    <a:lnTo>
                      <a:pt x="167" y="70"/>
                    </a:lnTo>
                    <a:lnTo>
                      <a:pt x="176" y="70"/>
                    </a:lnTo>
                    <a:lnTo>
                      <a:pt x="176" y="70"/>
                    </a:lnTo>
                    <a:lnTo>
                      <a:pt x="185" y="79"/>
                    </a:lnTo>
                    <a:lnTo>
                      <a:pt x="193" y="79"/>
                    </a:lnTo>
                    <a:lnTo>
                      <a:pt x="202" y="70"/>
                    </a:lnTo>
                    <a:lnTo>
                      <a:pt x="202" y="70"/>
                    </a:lnTo>
                    <a:lnTo>
                      <a:pt x="211" y="70"/>
                    </a:lnTo>
                    <a:lnTo>
                      <a:pt x="211" y="70"/>
                    </a:lnTo>
                    <a:lnTo>
                      <a:pt x="220" y="70"/>
                    </a:lnTo>
                    <a:lnTo>
                      <a:pt x="229" y="70"/>
                    </a:lnTo>
                    <a:lnTo>
                      <a:pt x="237" y="79"/>
                    </a:lnTo>
                    <a:lnTo>
                      <a:pt x="237" y="79"/>
                    </a:lnTo>
                    <a:lnTo>
                      <a:pt x="246" y="79"/>
                    </a:lnTo>
                    <a:lnTo>
                      <a:pt x="246" y="88"/>
                    </a:lnTo>
                    <a:lnTo>
                      <a:pt x="255" y="88"/>
                    </a:lnTo>
                    <a:lnTo>
                      <a:pt x="264" y="88"/>
                    </a:lnTo>
                    <a:lnTo>
                      <a:pt x="273" y="79"/>
                    </a:lnTo>
                    <a:lnTo>
                      <a:pt x="281" y="88"/>
                    </a:lnTo>
                    <a:lnTo>
                      <a:pt x="281" y="88"/>
                    </a:lnTo>
                    <a:lnTo>
                      <a:pt x="290" y="88"/>
                    </a:lnTo>
                    <a:lnTo>
                      <a:pt x="299" y="88"/>
                    </a:lnTo>
                    <a:lnTo>
                      <a:pt x="308" y="88"/>
                    </a:lnTo>
                    <a:lnTo>
                      <a:pt x="317" y="88"/>
                    </a:lnTo>
                    <a:lnTo>
                      <a:pt x="334" y="88"/>
                    </a:lnTo>
                    <a:lnTo>
                      <a:pt x="334" y="88"/>
                    </a:lnTo>
                    <a:lnTo>
                      <a:pt x="343" y="88"/>
                    </a:lnTo>
                    <a:lnTo>
                      <a:pt x="352" y="88"/>
                    </a:lnTo>
                    <a:lnTo>
                      <a:pt x="361" y="88"/>
                    </a:lnTo>
                    <a:lnTo>
                      <a:pt x="361" y="88"/>
                    </a:lnTo>
                    <a:lnTo>
                      <a:pt x="369" y="88"/>
                    </a:lnTo>
                    <a:lnTo>
                      <a:pt x="413" y="97"/>
                    </a:lnTo>
                    <a:lnTo>
                      <a:pt x="484" y="115"/>
                    </a:lnTo>
                    <a:lnTo>
                      <a:pt x="484" y="115"/>
                    </a:lnTo>
                    <a:lnTo>
                      <a:pt x="484" y="123"/>
                    </a:lnTo>
                    <a:lnTo>
                      <a:pt x="484" y="123"/>
                    </a:lnTo>
                    <a:lnTo>
                      <a:pt x="492" y="132"/>
                    </a:lnTo>
                    <a:lnTo>
                      <a:pt x="501" y="141"/>
                    </a:lnTo>
                    <a:lnTo>
                      <a:pt x="492" y="150"/>
                    </a:lnTo>
                    <a:lnTo>
                      <a:pt x="484" y="159"/>
                    </a:lnTo>
                    <a:lnTo>
                      <a:pt x="475" y="176"/>
                    </a:lnTo>
                    <a:lnTo>
                      <a:pt x="466" y="185"/>
                    </a:lnTo>
                    <a:lnTo>
                      <a:pt x="466" y="194"/>
                    </a:lnTo>
                    <a:lnTo>
                      <a:pt x="466" y="194"/>
                    </a:lnTo>
                    <a:lnTo>
                      <a:pt x="457" y="203"/>
                    </a:lnTo>
                    <a:lnTo>
                      <a:pt x="449" y="212"/>
                    </a:lnTo>
                    <a:lnTo>
                      <a:pt x="449" y="221"/>
                    </a:lnTo>
                    <a:lnTo>
                      <a:pt x="440" y="221"/>
                    </a:lnTo>
                    <a:lnTo>
                      <a:pt x="440" y="238"/>
                    </a:lnTo>
                    <a:lnTo>
                      <a:pt x="440" y="238"/>
                    </a:lnTo>
                    <a:lnTo>
                      <a:pt x="440" y="247"/>
                    </a:lnTo>
                    <a:lnTo>
                      <a:pt x="449" y="247"/>
                    </a:lnTo>
                    <a:lnTo>
                      <a:pt x="449" y="247"/>
                    </a:lnTo>
                    <a:lnTo>
                      <a:pt x="449" y="256"/>
                    </a:lnTo>
                    <a:lnTo>
                      <a:pt x="449" y="265"/>
                    </a:lnTo>
                    <a:lnTo>
                      <a:pt x="440" y="274"/>
                    </a:lnTo>
                    <a:lnTo>
                      <a:pt x="440" y="274"/>
                    </a:lnTo>
                    <a:lnTo>
                      <a:pt x="440" y="283"/>
                    </a:lnTo>
                    <a:lnTo>
                      <a:pt x="405" y="424"/>
                    </a:lnTo>
                    <a:lnTo>
                      <a:pt x="334" y="406"/>
                    </a:lnTo>
                    <a:lnTo>
                      <a:pt x="237" y="380"/>
                    </a:lnTo>
                    <a:lnTo>
                      <a:pt x="132" y="353"/>
                    </a:lnTo>
                    <a:lnTo>
                      <a:pt x="9" y="318"/>
                    </a:lnTo>
                    <a:lnTo>
                      <a:pt x="0" y="318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8" name="Freeform 55"/>
              <p:cNvSpPr>
                <a:spLocks/>
              </p:cNvSpPr>
              <p:nvPr/>
            </p:nvSpPr>
            <p:spPr bwMode="auto">
              <a:xfrm>
                <a:off x="2465264" y="3054097"/>
                <a:ext cx="719115" cy="36760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7" y="9"/>
                  </a:cxn>
                  <a:cxn ang="0">
                    <a:pos x="448" y="9"/>
                  </a:cxn>
                  <a:cxn ang="0">
                    <a:pos x="527" y="53"/>
                  </a:cxn>
                  <a:cxn ang="0">
                    <a:pos x="536" y="141"/>
                  </a:cxn>
                  <a:cxn ang="0">
                    <a:pos x="527" y="274"/>
                  </a:cxn>
                  <a:cxn ang="0">
                    <a:pos x="519" y="265"/>
                  </a:cxn>
                  <a:cxn ang="0">
                    <a:pos x="492" y="256"/>
                  </a:cxn>
                  <a:cxn ang="0">
                    <a:pos x="483" y="256"/>
                  </a:cxn>
                  <a:cxn ang="0">
                    <a:pos x="475" y="256"/>
                  </a:cxn>
                  <a:cxn ang="0">
                    <a:pos x="466" y="256"/>
                  </a:cxn>
                  <a:cxn ang="0">
                    <a:pos x="457" y="265"/>
                  </a:cxn>
                  <a:cxn ang="0">
                    <a:pos x="448" y="256"/>
                  </a:cxn>
                  <a:cxn ang="0">
                    <a:pos x="439" y="265"/>
                  </a:cxn>
                  <a:cxn ang="0">
                    <a:pos x="422" y="265"/>
                  </a:cxn>
                  <a:cxn ang="0">
                    <a:pos x="413" y="274"/>
                  </a:cxn>
                  <a:cxn ang="0">
                    <a:pos x="404" y="265"/>
                  </a:cxn>
                  <a:cxn ang="0">
                    <a:pos x="395" y="256"/>
                  </a:cxn>
                  <a:cxn ang="0">
                    <a:pos x="387" y="265"/>
                  </a:cxn>
                  <a:cxn ang="0">
                    <a:pos x="378" y="256"/>
                  </a:cxn>
                  <a:cxn ang="0">
                    <a:pos x="378" y="256"/>
                  </a:cxn>
                  <a:cxn ang="0">
                    <a:pos x="369" y="274"/>
                  </a:cxn>
                  <a:cxn ang="0">
                    <a:pos x="369" y="274"/>
                  </a:cxn>
                  <a:cxn ang="0">
                    <a:pos x="369" y="265"/>
                  </a:cxn>
                  <a:cxn ang="0">
                    <a:pos x="352" y="265"/>
                  </a:cxn>
                  <a:cxn ang="0">
                    <a:pos x="343" y="256"/>
                  </a:cxn>
                  <a:cxn ang="0">
                    <a:pos x="343" y="256"/>
                  </a:cxn>
                  <a:cxn ang="0">
                    <a:pos x="325" y="256"/>
                  </a:cxn>
                  <a:cxn ang="0">
                    <a:pos x="316" y="256"/>
                  </a:cxn>
                  <a:cxn ang="0">
                    <a:pos x="316" y="248"/>
                  </a:cxn>
                  <a:cxn ang="0">
                    <a:pos x="308" y="248"/>
                  </a:cxn>
                  <a:cxn ang="0">
                    <a:pos x="299" y="239"/>
                  </a:cxn>
                  <a:cxn ang="0">
                    <a:pos x="290" y="248"/>
                  </a:cxn>
                  <a:cxn ang="0">
                    <a:pos x="281" y="239"/>
                  </a:cxn>
                  <a:cxn ang="0">
                    <a:pos x="272" y="239"/>
                  </a:cxn>
                  <a:cxn ang="0">
                    <a:pos x="255" y="239"/>
                  </a:cxn>
                  <a:cxn ang="0">
                    <a:pos x="246" y="230"/>
                  </a:cxn>
                  <a:cxn ang="0">
                    <a:pos x="237" y="230"/>
                  </a:cxn>
                  <a:cxn ang="0">
                    <a:pos x="237" y="221"/>
                  </a:cxn>
                  <a:cxn ang="0">
                    <a:pos x="228" y="212"/>
                  </a:cxn>
                  <a:cxn ang="0">
                    <a:pos x="220" y="221"/>
                  </a:cxn>
                  <a:cxn ang="0">
                    <a:pos x="211" y="212"/>
                  </a:cxn>
                  <a:cxn ang="0">
                    <a:pos x="202" y="212"/>
                  </a:cxn>
                  <a:cxn ang="0">
                    <a:pos x="184" y="203"/>
                  </a:cxn>
                  <a:cxn ang="0">
                    <a:pos x="184" y="195"/>
                  </a:cxn>
                  <a:cxn ang="0">
                    <a:pos x="184" y="44"/>
                  </a:cxn>
                  <a:cxn ang="0">
                    <a:pos x="149" y="44"/>
                  </a:cxn>
                  <a:cxn ang="0">
                    <a:pos x="0" y="44"/>
                  </a:cxn>
                </a:cxnLst>
                <a:rect l="0" t="0" r="r" b="b"/>
                <a:pathLst>
                  <a:path w="536" h="274">
                    <a:moveTo>
                      <a:pt x="0" y="44"/>
                    </a:moveTo>
                    <a:lnTo>
                      <a:pt x="0" y="0"/>
                    </a:lnTo>
                    <a:lnTo>
                      <a:pt x="61" y="0"/>
                    </a:lnTo>
                    <a:lnTo>
                      <a:pt x="167" y="9"/>
                    </a:lnTo>
                    <a:lnTo>
                      <a:pt x="308" y="9"/>
                    </a:lnTo>
                    <a:lnTo>
                      <a:pt x="448" y="9"/>
                    </a:lnTo>
                    <a:lnTo>
                      <a:pt x="527" y="9"/>
                    </a:lnTo>
                    <a:lnTo>
                      <a:pt x="527" y="53"/>
                    </a:lnTo>
                    <a:lnTo>
                      <a:pt x="536" y="115"/>
                    </a:lnTo>
                    <a:lnTo>
                      <a:pt x="536" y="141"/>
                    </a:lnTo>
                    <a:lnTo>
                      <a:pt x="536" y="274"/>
                    </a:lnTo>
                    <a:lnTo>
                      <a:pt x="527" y="274"/>
                    </a:lnTo>
                    <a:lnTo>
                      <a:pt x="519" y="274"/>
                    </a:lnTo>
                    <a:lnTo>
                      <a:pt x="519" y="265"/>
                    </a:lnTo>
                    <a:lnTo>
                      <a:pt x="510" y="265"/>
                    </a:lnTo>
                    <a:lnTo>
                      <a:pt x="492" y="256"/>
                    </a:lnTo>
                    <a:lnTo>
                      <a:pt x="492" y="256"/>
                    </a:lnTo>
                    <a:lnTo>
                      <a:pt x="483" y="256"/>
                    </a:lnTo>
                    <a:lnTo>
                      <a:pt x="483" y="256"/>
                    </a:lnTo>
                    <a:lnTo>
                      <a:pt x="475" y="256"/>
                    </a:lnTo>
                    <a:lnTo>
                      <a:pt x="475" y="256"/>
                    </a:lnTo>
                    <a:lnTo>
                      <a:pt x="466" y="256"/>
                    </a:lnTo>
                    <a:lnTo>
                      <a:pt x="457" y="256"/>
                    </a:lnTo>
                    <a:lnTo>
                      <a:pt x="457" y="265"/>
                    </a:lnTo>
                    <a:lnTo>
                      <a:pt x="448" y="265"/>
                    </a:lnTo>
                    <a:lnTo>
                      <a:pt x="448" y="256"/>
                    </a:lnTo>
                    <a:lnTo>
                      <a:pt x="439" y="265"/>
                    </a:lnTo>
                    <a:lnTo>
                      <a:pt x="439" y="265"/>
                    </a:lnTo>
                    <a:lnTo>
                      <a:pt x="431" y="265"/>
                    </a:lnTo>
                    <a:lnTo>
                      <a:pt x="422" y="265"/>
                    </a:lnTo>
                    <a:lnTo>
                      <a:pt x="422" y="274"/>
                    </a:lnTo>
                    <a:lnTo>
                      <a:pt x="413" y="274"/>
                    </a:lnTo>
                    <a:lnTo>
                      <a:pt x="413" y="265"/>
                    </a:lnTo>
                    <a:lnTo>
                      <a:pt x="404" y="265"/>
                    </a:lnTo>
                    <a:lnTo>
                      <a:pt x="404" y="256"/>
                    </a:lnTo>
                    <a:lnTo>
                      <a:pt x="395" y="256"/>
                    </a:lnTo>
                    <a:lnTo>
                      <a:pt x="395" y="265"/>
                    </a:lnTo>
                    <a:lnTo>
                      <a:pt x="387" y="265"/>
                    </a:lnTo>
                    <a:lnTo>
                      <a:pt x="387" y="256"/>
                    </a:lnTo>
                    <a:lnTo>
                      <a:pt x="378" y="256"/>
                    </a:lnTo>
                    <a:lnTo>
                      <a:pt x="378" y="256"/>
                    </a:lnTo>
                    <a:lnTo>
                      <a:pt x="378" y="256"/>
                    </a:lnTo>
                    <a:lnTo>
                      <a:pt x="369" y="265"/>
                    </a:lnTo>
                    <a:lnTo>
                      <a:pt x="369" y="274"/>
                    </a:lnTo>
                    <a:lnTo>
                      <a:pt x="369" y="274"/>
                    </a:lnTo>
                    <a:lnTo>
                      <a:pt x="369" y="274"/>
                    </a:lnTo>
                    <a:lnTo>
                      <a:pt x="360" y="265"/>
                    </a:lnTo>
                    <a:lnTo>
                      <a:pt x="369" y="265"/>
                    </a:lnTo>
                    <a:lnTo>
                      <a:pt x="360" y="256"/>
                    </a:lnTo>
                    <a:lnTo>
                      <a:pt x="352" y="265"/>
                    </a:lnTo>
                    <a:lnTo>
                      <a:pt x="352" y="265"/>
                    </a:lnTo>
                    <a:lnTo>
                      <a:pt x="343" y="256"/>
                    </a:lnTo>
                    <a:lnTo>
                      <a:pt x="343" y="256"/>
                    </a:lnTo>
                    <a:lnTo>
                      <a:pt x="343" y="256"/>
                    </a:lnTo>
                    <a:lnTo>
                      <a:pt x="334" y="248"/>
                    </a:lnTo>
                    <a:lnTo>
                      <a:pt x="325" y="256"/>
                    </a:lnTo>
                    <a:lnTo>
                      <a:pt x="316" y="265"/>
                    </a:lnTo>
                    <a:lnTo>
                      <a:pt x="316" y="256"/>
                    </a:lnTo>
                    <a:lnTo>
                      <a:pt x="316" y="256"/>
                    </a:lnTo>
                    <a:lnTo>
                      <a:pt x="316" y="248"/>
                    </a:lnTo>
                    <a:lnTo>
                      <a:pt x="308" y="248"/>
                    </a:lnTo>
                    <a:lnTo>
                      <a:pt x="308" y="248"/>
                    </a:lnTo>
                    <a:lnTo>
                      <a:pt x="308" y="239"/>
                    </a:lnTo>
                    <a:lnTo>
                      <a:pt x="299" y="239"/>
                    </a:lnTo>
                    <a:lnTo>
                      <a:pt x="290" y="239"/>
                    </a:lnTo>
                    <a:lnTo>
                      <a:pt x="290" y="248"/>
                    </a:lnTo>
                    <a:lnTo>
                      <a:pt x="281" y="248"/>
                    </a:lnTo>
                    <a:lnTo>
                      <a:pt x="281" y="239"/>
                    </a:lnTo>
                    <a:lnTo>
                      <a:pt x="272" y="239"/>
                    </a:lnTo>
                    <a:lnTo>
                      <a:pt x="272" y="239"/>
                    </a:lnTo>
                    <a:lnTo>
                      <a:pt x="264" y="239"/>
                    </a:lnTo>
                    <a:lnTo>
                      <a:pt x="255" y="239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37" y="230"/>
                    </a:lnTo>
                    <a:lnTo>
                      <a:pt x="237" y="230"/>
                    </a:lnTo>
                    <a:lnTo>
                      <a:pt x="237" y="221"/>
                    </a:lnTo>
                    <a:lnTo>
                      <a:pt x="228" y="221"/>
                    </a:lnTo>
                    <a:lnTo>
                      <a:pt x="228" y="212"/>
                    </a:lnTo>
                    <a:lnTo>
                      <a:pt x="228" y="212"/>
                    </a:lnTo>
                    <a:lnTo>
                      <a:pt x="220" y="221"/>
                    </a:lnTo>
                    <a:lnTo>
                      <a:pt x="220" y="221"/>
                    </a:lnTo>
                    <a:lnTo>
                      <a:pt x="211" y="212"/>
                    </a:lnTo>
                    <a:lnTo>
                      <a:pt x="211" y="221"/>
                    </a:lnTo>
                    <a:lnTo>
                      <a:pt x="202" y="212"/>
                    </a:lnTo>
                    <a:lnTo>
                      <a:pt x="193" y="203"/>
                    </a:lnTo>
                    <a:lnTo>
                      <a:pt x="184" y="203"/>
                    </a:lnTo>
                    <a:lnTo>
                      <a:pt x="184" y="203"/>
                    </a:lnTo>
                    <a:lnTo>
                      <a:pt x="184" y="195"/>
                    </a:lnTo>
                    <a:lnTo>
                      <a:pt x="184" y="53"/>
                    </a:lnTo>
                    <a:lnTo>
                      <a:pt x="184" y="44"/>
                    </a:lnTo>
                    <a:lnTo>
                      <a:pt x="176" y="44"/>
                    </a:lnTo>
                    <a:lnTo>
                      <a:pt x="149" y="44"/>
                    </a:lnTo>
                    <a:lnTo>
                      <a:pt x="88" y="44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39" name="Freeform 56"/>
              <p:cNvSpPr>
                <a:spLocks/>
              </p:cNvSpPr>
              <p:nvPr/>
            </p:nvSpPr>
            <p:spPr bwMode="auto">
              <a:xfrm>
                <a:off x="2465264" y="3054097"/>
                <a:ext cx="719115" cy="36760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7" y="9"/>
                  </a:cxn>
                  <a:cxn ang="0">
                    <a:pos x="448" y="9"/>
                  </a:cxn>
                  <a:cxn ang="0">
                    <a:pos x="527" y="53"/>
                  </a:cxn>
                  <a:cxn ang="0">
                    <a:pos x="536" y="141"/>
                  </a:cxn>
                  <a:cxn ang="0">
                    <a:pos x="527" y="274"/>
                  </a:cxn>
                  <a:cxn ang="0">
                    <a:pos x="519" y="265"/>
                  </a:cxn>
                  <a:cxn ang="0">
                    <a:pos x="492" y="256"/>
                  </a:cxn>
                  <a:cxn ang="0">
                    <a:pos x="483" y="256"/>
                  </a:cxn>
                  <a:cxn ang="0">
                    <a:pos x="475" y="256"/>
                  </a:cxn>
                  <a:cxn ang="0">
                    <a:pos x="466" y="256"/>
                  </a:cxn>
                  <a:cxn ang="0">
                    <a:pos x="457" y="265"/>
                  </a:cxn>
                  <a:cxn ang="0">
                    <a:pos x="448" y="256"/>
                  </a:cxn>
                  <a:cxn ang="0">
                    <a:pos x="439" y="265"/>
                  </a:cxn>
                  <a:cxn ang="0">
                    <a:pos x="422" y="265"/>
                  </a:cxn>
                  <a:cxn ang="0">
                    <a:pos x="413" y="274"/>
                  </a:cxn>
                  <a:cxn ang="0">
                    <a:pos x="404" y="265"/>
                  </a:cxn>
                  <a:cxn ang="0">
                    <a:pos x="395" y="256"/>
                  </a:cxn>
                  <a:cxn ang="0">
                    <a:pos x="387" y="265"/>
                  </a:cxn>
                  <a:cxn ang="0">
                    <a:pos x="378" y="256"/>
                  </a:cxn>
                  <a:cxn ang="0">
                    <a:pos x="378" y="256"/>
                  </a:cxn>
                  <a:cxn ang="0">
                    <a:pos x="369" y="274"/>
                  </a:cxn>
                  <a:cxn ang="0">
                    <a:pos x="369" y="274"/>
                  </a:cxn>
                  <a:cxn ang="0">
                    <a:pos x="369" y="265"/>
                  </a:cxn>
                  <a:cxn ang="0">
                    <a:pos x="352" y="265"/>
                  </a:cxn>
                  <a:cxn ang="0">
                    <a:pos x="343" y="256"/>
                  </a:cxn>
                  <a:cxn ang="0">
                    <a:pos x="343" y="256"/>
                  </a:cxn>
                  <a:cxn ang="0">
                    <a:pos x="325" y="256"/>
                  </a:cxn>
                  <a:cxn ang="0">
                    <a:pos x="316" y="256"/>
                  </a:cxn>
                  <a:cxn ang="0">
                    <a:pos x="316" y="248"/>
                  </a:cxn>
                  <a:cxn ang="0">
                    <a:pos x="308" y="248"/>
                  </a:cxn>
                  <a:cxn ang="0">
                    <a:pos x="299" y="239"/>
                  </a:cxn>
                  <a:cxn ang="0">
                    <a:pos x="290" y="248"/>
                  </a:cxn>
                  <a:cxn ang="0">
                    <a:pos x="281" y="239"/>
                  </a:cxn>
                  <a:cxn ang="0">
                    <a:pos x="272" y="239"/>
                  </a:cxn>
                  <a:cxn ang="0">
                    <a:pos x="255" y="239"/>
                  </a:cxn>
                  <a:cxn ang="0">
                    <a:pos x="246" y="230"/>
                  </a:cxn>
                  <a:cxn ang="0">
                    <a:pos x="237" y="230"/>
                  </a:cxn>
                  <a:cxn ang="0">
                    <a:pos x="237" y="221"/>
                  </a:cxn>
                  <a:cxn ang="0">
                    <a:pos x="228" y="212"/>
                  </a:cxn>
                  <a:cxn ang="0">
                    <a:pos x="220" y="221"/>
                  </a:cxn>
                  <a:cxn ang="0">
                    <a:pos x="211" y="212"/>
                  </a:cxn>
                  <a:cxn ang="0">
                    <a:pos x="202" y="212"/>
                  </a:cxn>
                  <a:cxn ang="0">
                    <a:pos x="184" y="203"/>
                  </a:cxn>
                  <a:cxn ang="0">
                    <a:pos x="184" y="195"/>
                  </a:cxn>
                  <a:cxn ang="0">
                    <a:pos x="184" y="44"/>
                  </a:cxn>
                  <a:cxn ang="0">
                    <a:pos x="149" y="44"/>
                  </a:cxn>
                  <a:cxn ang="0">
                    <a:pos x="0" y="44"/>
                  </a:cxn>
                </a:cxnLst>
                <a:rect l="0" t="0" r="r" b="b"/>
                <a:pathLst>
                  <a:path w="536" h="274">
                    <a:moveTo>
                      <a:pt x="0" y="44"/>
                    </a:moveTo>
                    <a:lnTo>
                      <a:pt x="0" y="0"/>
                    </a:lnTo>
                    <a:lnTo>
                      <a:pt x="61" y="0"/>
                    </a:lnTo>
                    <a:lnTo>
                      <a:pt x="167" y="9"/>
                    </a:lnTo>
                    <a:lnTo>
                      <a:pt x="308" y="9"/>
                    </a:lnTo>
                    <a:lnTo>
                      <a:pt x="448" y="9"/>
                    </a:lnTo>
                    <a:lnTo>
                      <a:pt x="527" y="9"/>
                    </a:lnTo>
                    <a:lnTo>
                      <a:pt x="527" y="53"/>
                    </a:lnTo>
                    <a:lnTo>
                      <a:pt x="536" y="115"/>
                    </a:lnTo>
                    <a:lnTo>
                      <a:pt x="536" y="141"/>
                    </a:lnTo>
                    <a:lnTo>
                      <a:pt x="536" y="274"/>
                    </a:lnTo>
                    <a:lnTo>
                      <a:pt x="527" y="274"/>
                    </a:lnTo>
                    <a:lnTo>
                      <a:pt x="519" y="274"/>
                    </a:lnTo>
                    <a:lnTo>
                      <a:pt x="519" y="265"/>
                    </a:lnTo>
                    <a:lnTo>
                      <a:pt x="510" y="265"/>
                    </a:lnTo>
                    <a:lnTo>
                      <a:pt x="492" y="256"/>
                    </a:lnTo>
                    <a:lnTo>
                      <a:pt x="492" y="256"/>
                    </a:lnTo>
                    <a:lnTo>
                      <a:pt x="483" y="256"/>
                    </a:lnTo>
                    <a:lnTo>
                      <a:pt x="483" y="256"/>
                    </a:lnTo>
                    <a:lnTo>
                      <a:pt x="475" y="256"/>
                    </a:lnTo>
                    <a:lnTo>
                      <a:pt x="475" y="256"/>
                    </a:lnTo>
                    <a:lnTo>
                      <a:pt x="466" y="256"/>
                    </a:lnTo>
                    <a:lnTo>
                      <a:pt x="457" y="256"/>
                    </a:lnTo>
                    <a:lnTo>
                      <a:pt x="457" y="265"/>
                    </a:lnTo>
                    <a:lnTo>
                      <a:pt x="448" y="265"/>
                    </a:lnTo>
                    <a:lnTo>
                      <a:pt x="448" y="256"/>
                    </a:lnTo>
                    <a:lnTo>
                      <a:pt x="439" y="265"/>
                    </a:lnTo>
                    <a:lnTo>
                      <a:pt x="439" y="265"/>
                    </a:lnTo>
                    <a:lnTo>
                      <a:pt x="431" y="265"/>
                    </a:lnTo>
                    <a:lnTo>
                      <a:pt x="422" y="265"/>
                    </a:lnTo>
                    <a:lnTo>
                      <a:pt x="422" y="274"/>
                    </a:lnTo>
                    <a:lnTo>
                      <a:pt x="413" y="274"/>
                    </a:lnTo>
                    <a:lnTo>
                      <a:pt x="413" y="265"/>
                    </a:lnTo>
                    <a:lnTo>
                      <a:pt x="404" y="265"/>
                    </a:lnTo>
                    <a:lnTo>
                      <a:pt x="404" y="256"/>
                    </a:lnTo>
                    <a:lnTo>
                      <a:pt x="395" y="256"/>
                    </a:lnTo>
                    <a:lnTo>
                      <a:pt x="395" y="265"/>
                    </a:lnTo>
                    <a:lnTo>
                      <a:pt x="387" y="265"/>
                    </a:lnTo>
                    <a:lnTo>
                      <a:pt x="387" y="256"/>
                    </a:lnTo>
                    <a:lnTo>
                      <a:pt x="378" y="256"/>
                    </a:lnTo>
                    <a:lnTo>
                      <a:pt x="378" y="256"/>
                    </a:lnTo>
                    <a:lnTo>
                      <a:pt x="378" y="256"/>
                    </a:lnTo>
                    <a:lnTo>
                      <a:pt x="369" y="265"/>
                    </a:lnTo>
                    <a:lnTo>
                      <a:pt x="369" y="274"/>
                    </a:lnTo>
                    <a:lnTo>
                      <a:pt x="369" y="274"/>
                    </a:lnTo>
                    <a:lnTo>
                      <a:pt x="369" y="274"/>
                    </a:lnTo>
                    <a:lnTo>
                      <a:pt x="360" y="265"/>
                    </a:lnTo>
                    <a:lnTo>
                      <a:pt x="369" y="265"/>
                    </a:lnTo>
                    <a:lnTo>
                      <a:pt x="360" y="256"/>
                    </a:lnTo>
                    <a:lnTo>
                      <a:pt x="352" y="265"/>
                    </a:lnTo>
                    <a:lnTo>
                      <a:pt x="352" y="265"/>
                    </a:lnTo>
                    <a:lnTo>
                      <a:pt x="343" y="256"/>
                    </a:lnTo>
                    <a:lnTo>
                      <a:pt x="343" y="256"/>
                    </a:lnTo>
                    <a:lnTo>
                      <a:pt x="343" y="256"/>
                    </a:lnTo>
                    <a:lnTo>
                      <a:pt x="334" y="248"/>
                    </a:lnTo>
                    <a:lnTo>
                      <a:pt x="325" y="256"/>
                    </a:lnTo>
                    <a:lnTo>
                      <a:pt x="316" y="265"/>
                    </a:lnTo>
                    <a:lnTo>
                      <a:pt x="316" y="256"/>
                    </a:lnTo>
                    <a:lnTo>
                      <a:pt x="316" y="256"/>
                    </a:lnTo>
                    <a:lnTo>
                      <a:pt x="316" y="248"/>
                    </a:lnTo>
                    <a:lnTo>
                      <a:pt x="308" y="248"/>
                    </a:lnTo>
                    <a:lnTo>
                      <a:pt x="308" y="248"/>
                    </a:lnTo>
                    <a:lnTo>
                      <a:pt x="308" y="239"/>
                    </a:lnTo>
                    <a:lnTo>
                      <a:pt x="299" y="239"/>
                    </a:lnTo>
                    <a:lnTo>
                      <a:pt x="290" y="239"/>
                    </a:lnTo>
                    <a:lnTo>
                      <a:pt x="290" y="248"/>
                    </a:lnTo>
                    <a:lnTo>
                      <a:pt x="281" y="248"/>
                    </a:lnTo>
                    <a:lnTo>
                      <a:pt x="281" y="239"/>
                    </a:lnTo>
                    <a:lnTo>
                      <a:pt x="272" y="239"/>
                    </a:lnTo>
                    <a:lnTo>
                      <a:pt x="272" y="239"/>
                    </a:lnTo>
                    <a:lnTo>
                      <a:pt x="264" y="239"/>
                    </a:lnTo>
                    <a:lnTo>
                      <a:pt x="255" y="239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37" y="230"/>
                    </a:lnTo>
                    <a:lnTo>
                      <a:pt x="237" y="230"/>
                    </a:lnTo>
                    <a:lnTo>
                      <a:pt x="237" y="221"/>
                    </a:lnTo>
                    <a:lnTo>
                      <a:pt x="228" y="221"/>
                    </a:lnTo>
                    <a:lnTo>
                      <a:pt x="228" y="212"/>
                    </a:lnTo>
                    <a:lnTo>
                      <a:pt x="228" y="212"/>
                    </a:lnTo>
                    <a:lnTo>
                      <a:pt x="220" y="221"/>
                    </a:lnTo>
                    <a:lnTo>
                      <a:pt x="220" y="221"/>
                    </a:lnTo>
                    <a:lnTo>
                      <a:pt x="211" y="212"/>
                    </a:lnTo>
                    <a:lnTo>
                      <a:pt x="211" y="221"/>
                    </a:lnTo>
                    <a:lnTo>
                      <a:pt x="202" y="212"/>
                    </a:lnTo>
                    <a:lnTo>
                      <a:pt x="193" y="203"/>
                    </a:lnTo>
                    <a:lnTo>
                      <a:pt x="184" y="203"/>
                    </a:lnTo>
                    <a:lnTo>
                      <a:pt x="184" y="203"/>
                    </a:lnTo>
                    <a:lnTo>
                      <a:pt x="184" y="195"/>
                    </a:lnTo>
                    <a:lnTo>
                      <a:pt x="184" y="53"/>
                    </a:lnTo>
                    <a:lnTo>
                      <a:pt x="184" y="44"/>
                    </a:lnTo>
                    <a:lnTo>
                      <a:pt x="176" y="44"/>
                    </a:lnTo>
                    <a:lnTo>
                      <a:pt x="149" y="44"/>
                    </a:lnTo>
                    <a:lnTo>
                      <a:pt x="88" y="44"/>
                    </a:lnTo>
                    <a:lnTo>
                      <a:pt x="0" y="44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40" name="Freeform 61"/>
              <p:cNvSpPr>
                <a:spLocks/>
              </p:cNvSpPr>
              <p:nvPr/>
            </p:nvSpPr>
            <p:spPr bwMode="auto">
              <a:xfrm>
                <a:off x="4719206" y="2923958"/>
                <a:ext cx="12075" cy="120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9" y="9"/>
                  </a:cxn>
                  <a:cxn ang="0">
                    <a:pos x="0" y="0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9" y="9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41" name="Freeform 62"/>
              <p:cNvSpPr>
                <a:spLocks/>
              </p:cNvSpPr>
              <p:nvPr/>
            </p:nvSpPr>
            <p:spPr bwMode="auto">
              <a:xfrm>
                <a:off x="4719206" y="2923958"/>
                <a:ext cx="12075" cy="120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9" y="9"/>
                  </a:cxn>
                  <a:cxn ang="0">
                    <a:pos x="0" y="0"/>
                  </a:cxn>
                </a:cxnLst>
                <a:rect l="0" t="0" r="r" b="b"/>
                <a:pathLst>
                  <a:path w="9" h="9">
                    <a:moveTo>
                      <a:pt x="0" y="0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9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42" name="Freeform 63"/>
              <p:cNvSpPr>
                <a:spLocks/>
              </p:cNvSpPr>
              <p:nvPr/>
            </p:nvSpPr>
            <p:spPr bwMode="auto">
              <a:xfrm>
                <a:off x="4743355" y="3078246"/>
                <a:ext cx="10733" cy="12075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0" y="9"/>
                  </a:cxn>
                </a:cxnLst>
                <a:rect l="0" t="0" r="r" b="b"/>
                <a:pathLst>
                  <a:path w="8" h="9">
                    <a:moveTo>
                      <a:pt x="0" y="9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43" name="Freeform 64"/>
              <p:cNvSpPr>
                <a:spLocks/>
              </p:cNvSpPr>
              <p:nvPr/>
            </p:nvSpPr>
            <p:spPr bwMode="auto">
              <a:xfrm>
                <a:off x="4743355" y="3078246"/>
                <a:ext cx="10733" cy="12075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0" y="9"/>
                  </a:cxn>
                </a:cxnLst>
                <a:rect l="0" t="0" r="r" b="b"/>
                <a:pathLst>
                  <a:path w="8" h="9">
                    <a:moveTo>
                      <a:pt x="0" y="9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0" y="9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44" name="Freeform 65"/>
              <p:cNvSpPr>
                <a:spLocks/>
              </p:cNvSpPr>
              <p:nvPr/>
            </p:nvSpPr>
            <p:spPr bwMode="auto">
              <a:xfrm>
                <a:off x="4057781" y="2923958"/>
                <a:ext cx="708382" cy="319308"/>
              </a:xfrm>
              <a:custGeom>
                <a:avLst/>
                <a:gdLst/>
                <a:ahLst/>
                <a:cxnLst>
                  <a:cxn ang="0">
                    <a:pos x="9" y="185"/>
                  </a:cxn>
                  <a:cxn ang="0">
                    <a:pos x="27" y="168"/>
                  </a:cxn>
                  <a:cxn ang="0">
                    <a:pos x="71" y="141"/>
                  </a:cxn>
                  <a:cxn ang="0">
                    <a:pos x="80" y="124"/>
                  </a:cxn>
                  <a:cxn ang="0">
                    <a:pos x="97" y="124"/>
                  </a:cxn>
                  <a:cxn ang="0">
                    <a:pos x="115" y="106"/>
                  </a:cxn>
                  <a:cxn ang="0">
                    <a:pos x="132" y="88"/>
                  </a:cxn>
                  <a:cxn ang="0">
                    <a:pos x="141" y="70"/>
                  </a:cxn>
                  <a:cxn ang="0">
                    <a:pos x="229" y="53"/>
                  </a:cxn>
                  <a:cxn ang="0">
                    <a:pos x="493" y="9"/>
                  </a:cxn>
                  <a:cxn ang="0">
                    <a:pos x="511" y="26"/>
                  </a:cxn>
                  <a:cxn ang="0">
                    <a:pos x="502" y="26"/>
                  </a:cxn>
                  <a:cxn ang="0">
                    <a:pos x="484" y="26"/>
                  </a:cxn>
                  <a:cxn ang="0">
                    <a:pos x="493" y="35"/>
                  </a:cxn>
                  <a:cxn ang="0">
                    <a:pos x="475" y="35"/>
                  </a:cxn>
                  <a:cxn ang="0">
                    <a:pos x="458" y="53"/>
                  </a:cxn>
                  <a:cxn ang="0">
                    <a:pos x="458" y="35"/>
                  </a:cxn>
                  <a:cxn ang="0">
                    <a:pos x="458" y="44"/>
                  </a:cxn>
                  <a:cxn ang="0">
                    <a:pos x="467" y="53"/>
                  </a:cxn>
                  <a:cxn ang="0">
                    <a:pos x="493" y="53"/>
                  </a:cxn>
                  <a:cxn ang="0">
                    <a:pos x="502" y="62"/>
                  </a:cxn>
                  <a:cxn ang="0">
                    <a:pos x="502" y="70"/>
                  </a:cxn>
                  <a:cxn ang="0">
                    <a:pos x="519" y="53"/>
                  </a:cxn>
                  <a:cxn ang="0">
                    <a:pos x="528" y="53"/>
                  </a:cxn>
                  <a:cxn ang="0">
                    <a:pos x="519" y="70"/>
                  </a:cxn>
                  <a:cxn ang="0">
                    <a:pos x="493" y="97"/>
                  </a:cxn>
                  <a:cxn ang="0">
                    <a:pos x="484" y="97"/>
                  </a:cxn>
                  <a:cxn ang="0">
                    <a:pos x="475" y="88"/>
                  </a:cxn>
                  <a:cxn ang="0">
                    <a:pos x="458" y="97"/>
                  </a:cxn>
                  <a:cxn ang="0">
                    <a:pos x="475" y="106"/>
                  </a:cxn>
                  <a:cxn ang="0">
                    <a:pos x="484" y="115"/>
                  </a:cxn>
                  <a:cxn ang="0">
                    <a:pos x="475" y="132"/>
                  </a:cxn>
                  <a:cxn ang="0">
                    <a:pos x="458" y="124"/>
                  </a:cxn>
                  <a:cxn ang="0">
                    <a:pos x="475" y="141"/>
                  </a:cxn>
                  <a:cxn ang="0">
                    <a:pos x="493" y="132"/>
                  </a:cxn>
                  <a:cxn ang="0">
                    <a:pos x="493" y="132"/>
                  </a:cxn>
                  <a:cxn ang="0">
                    <a:pos x="502" y="132"/>
                  </a:cxn>
                  <a:cxn ang="0">
                    <a:pos x="493" y="150"/>
                  </a:cxn>
                  <a:cxn ang="0">
                    <a:pos x="475" y="150"/>
                  </a:cxn>
                  <a:cxn ang="0">
                    <a:pos x="458" y="159"/>
                  </a:cxn>
                  <a:cxn ang="0">
                    <a:pos x="440" y="168"/>
                  </a:cxn>
                  <a:cxn ang="0">
                    <a:pos x="440" y="177"/>
                  </a:cxn>
                  <a:cxn ang="0">
                    <a:pos x="423" y="212"/>
                  </a:cxn>
                  <a:cxn ang="0">
                    <a:pos x="414" y="212"/>
                  </a:cxn>
                  <a:cxn ang="0">
                    <a:pos x="414" y="238"/>
                  </a:cxn>
                  <a:cxn ang="0">
                    <a:pos x="379" y="238"/>
                  </a:cxn>
                  <a:cxn ang="0">
                    <a:pos x="220" y="194"/>
                  </a:cxn>
                  <a:cxn ang="0">
                    <a:pos x="212" y="177"/>
                  </a:cxn>
                  <a:cxn ang="0">
                    <a:pos x="124" y="185"/>
                  </a:cxn>
                  <a:cxn ang="0">
                    <a:pos x="88" y="194"/>
                  </a:cxn>
                </a:cxnLst>
                <a:rect l="0" t="0" r="r" b="b"/>
                <a:pathLst>
                  <a:path w="528" h="238">
                    <a:moveTo>
                      <a:pt x="0" y="212"/>
                    </a:moveTo>
                    <a:lnTo>
                      <a:pt x="0" y="194"/>
                    </a:lnTo>
                    <a:lnTo>
                      <a:pt x="9" y="194"/>
                    </a:lnTo>
                    <a:lnTo>
                      <a:pt x="9" y="185"/>
                    </a:lnTo>
                    <a:lnTo>
                      <a:pt x="18" y="177"/>
                    </a:lnTo>
                    <a:lnTo>
                      <a:pt x="18" y="177"/>
                    </a:lnTo>
                    <a:lnTo>
                      <a:pt x="18" y="168"/>
                    </a:lnTo>
                    <a:lnTo>
                      <a:pt x="27" y="168"/>
                    </a:lnTo>
                    <a:lnTo>
                      <a:pt x="44" y="168"/>
                    </a:lnTo>
                    <a:lnTo>
                      <a:pt x="44" y="159"/>
                    </a:lnTo>
                    <a:lnTo>
                      <a:pt x="62" y="150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80" y="132"/>
                    </a:lnTo>
                    <a:lnTo>
                      <a:pt x="80" y="124"/>
                    </a:lnTo>
                    <a:lnTo>
                      <a:pt x="80" y="124"/>
                    </a:lnTo>
                    <a:lnTo>
                      <a:pt x="88" y="124"/>
                    </a:lnTo>
                    <a:lnTo>
                      <a:pt x="88" y="124"/>
                    </a:lnTo>
                    <a:lnTo>
                      <a:pt x="88" y="115"/>
                    </a:lnTo>
                    <a:lnTo>
                      <a:pt x="97" y="124"/>
                    </a:lnTo>
                    <a:lnTo>
                      <a:pt x="97" y="124"/>
                    </a:lnTo>
                    <a:lnTo>
                      <a:pt x="106" y="115"/>
                    </a:lnTo>
                    <a:lnTo>
                      <a:pt x="106" y="115"/>
                    </a:lnTo>
                    <a:lnTo>
                      <a:pt x="115" y="106"/>
                    </a:lnTo>
                    <a:lnTo>
                      <a:pt x="124" y="106"/>
                    </a:lnTo>
                    <a:lnTo>
                      <a:pt x="124" y="106"/>
                    </a:lnTo>
                    <a:lnTo>
                      <a:pt x="132" y="106"/>
                    </a:lnTo>
                    <a:lnTo>
                      <a:pt x="132" y="88"/>
                    </a:lnTo>
                    <a:lnTo>
                      <a:pt x="141" y="88"/>
                    </a:lnTo>
                    <a:lnTo>
                      <a:pt x="141" y="88"/>
                    </a:lnTo>
                    <a:lnTo>
                      <a:pt x="141" y="79"/>
                    </a:lnTo>
                    <a:lnTo>
                      <a:pt x="141" y="70"/>
                    </a:lnTo>
                    <a:lnTo>
                      <a:pt x="150" y="62"/>
                    </a:lnTo>
                    <a:lnTo>
                      <a:pt x="159" y="62"/>
                    </a:lnTo>
                    <a:lnTo>
                      <a:pt x="176" y="62"/>
                    </a:lnTo>
                    <a:lnTo>
                      <a:pt x="229" y="53"/>
                    </a:lnTo>
                    <a:lnTo>
                      <a:pt x="361" y="26"/>
                    </a:lnTo>
                    <a:lnTo>
                      <a:pt x="431" y="17"/>
                    </a:lnTo>
                    <a:lnTo>
                      <a:pt x="493" y="0"/>
                    </a:lnTo>
                    <a:lnTo>
                      <a:pt x="493" y="9"/>
                    </a:lnTo>
                    <a:lnTo>
                      <a:pt x="502" y="9"/>
                    </a:lnTo>
                    <a:lnTo>
                      <a:pt x="502" y="9"/>
                    </a:lnTo>
                    <a:lnTo>
                      <a:pt x="502" y="17"/>
                    </a:lnTo>
                    <a:lnTo>
                      <a:pt x="511" y="26"/>
                    </a:lnTo>
                    <a:lnTo>
                      <a:pt x="511" y="35"/>
                    </a:lnTo>
                    <a:lnTo>
                      <a:pt x="511" y="26"/>
                    </a:lnTo>
                    <a:lnTo>
                      <a:pt x="502" y="17"/>
                    </a:lnTo>
                    <a:lnTo>
                      <a:pt x="502" y="26"/>
                    </a:lnTo>
                    <a:lnTo>
                      <a:pt x="511" y="26"/>
                    </a:lnTo>
                    <a:lnTo>
                      <a:pt x="502" y="26"/>
                    </a:lnTo>
                    <a:lnTo>
                      <a:pt x="493" y="26"/>
                    </a:lnTo>
                    <a:lnTo>
                      <a:pt x="484" y="26"/>
                    </a:lnTo>
                    <a:lnTo>
                      <a:pt x="493" y="26"/>
                    </a:lnTo>
                    <a:lnTo>
                      <a:pt x="493" y="26"/>
                    </a:lnTo>
                    <a:lnTo>
                      <a:pt x="493" y="35"/>
                    </a:lnTo>
                    <a:lnTo>
                      <a:pt x="493" y="35"/>
                    </a:lnTo>
                    <a:lnTo>
                      <a:pt x="484" y="35"/>
                    </a:lnTo>
                    <a:lnTo>
                      <a:pt x="493" y="35"/>
                    </a:lnTo>
                    <a:lnTo>
                      <a:pt x="484" y="35"/>
                    </a:lnTo>
                    <a:lnTo>
                      <a:pt x="475" y="35"/>
                    </a:lnTo>
                    <a:lnTo>
                      <a:pt x="484" y="44"/>
                    </a:lnTo>
                    <a:lnTo>
                      <a:pt x="475" y="53"/>
                    </a:lnTo>
                    <a:lnTo>
                      <a:pt x="467" y="53"/>
                    </a:lnTo>
                    <a:lnTo>
                      <a:pt x="458" y="53"/>
                    </a:lnTo>
                    <a:lnTo>
                      <a:pt x="458" y="35"/>
                    </a:lnTo>
                    <a:lnTo>
                      <a:pt x="458" y="35"/>
                    </a:lnTo>
                    <a:lnTo>
                      <a:pt x="458" y="35"/>
                    </a:lnTo>
                    <a:lnTo>
                      <a:pt x="458" y="35"/>
                    </a:lnTo>
                    <a:lnTo>
                      <a:pt x="458" y="26"/>
                    </a:lnTo>
                    <a:lnTo>
                      <a:pt x="458" y="35"/>
                    </a:lnTo>
                    <a:lnTo>
                      <a:pt x="458" y="35"/>
                    </a:lnTo>
                    <a:lnTo>
                      <a:pt x="458" y="44"/>
                    </a:lnTo>
                    <a:lnTo>
                      <a:pt x="458" y="44"/>
                    </a:lnTo>
                    <a:lnTo>
                      <a:pt x="467" y="53"/>
                    </a:lnTo>
                    <a:lnTo>
                      <a:pt x="467" y="62"/>
                    </a:lnTo>
                    <a:lnTo>
                      <a:pt x="467" y="53"/>
                    </a:lnTo>
                    <a:lnTo>
                      <a:pt x="475" y="53"/>
                    </a:lnTo>
                    <a:lnTo>
                      <a:pt x="475" y="53"/>
                    </a:lnTo>
                    <a:lnTo>
                      <a:pt x="493" y="53"/>
                    </a:lnTo>
                    <a:lnTo>
                      <a:pt x="493" y="53"/>
                    </a:lnTo>
                    <a:lnTo>
                      <a:pt x="502" y="44"/>
                    </a:lnTo>
                    <a:lnTo>
                      <a:pt x="502" y="44"/>
                    </a:lnTo>
                    <a:lnTo>
                      <a:pt x="502" y="53"/>
                    </a:lnTo>
                    <a:lnTo>
                      <a:pt x="502" y="62"/>
                    </a:lnTo>
                    <a:lnTo>
                      <a:pt x="502" y="62"/>
                    </a:lnTo>
                    <a:lnTo>
                      <a:pt x="511" y="62"/>
                    </a:lnTo>
                    <a:lnTo>
                      <a:pt x="502" y="70"/>
                    </a:lnTo>
                    <a:lnTo>
                      <a:pt x="502" y="70"/>
                    </a:lnTo>
                    <a:lnTo>
                      <a:pt x="511" y="70"/>
                    </a:lnTo>
                    <a:lnTo>
                      <a:pt x="511" y="53"/>
                    </a:lnTo>
                    <a:lnTo>
                      <a:pt x="511" y="53"/>
                    </a:lnTo>
                    <a:lnTo>
                      <a:pt x="519" y="53"/>
                    </a:lnTo>
                    <a:lnTo>
                      <a:pt x="519" y="44"/>
                    </a:lnTo>
                    <a:lnTo>
                      <a:pt x="519" y="44"/>
                    </a:lnTo>
                    <a:lnTo>
                      <a:pt x="519" y="53"/>
                    </a:lnTo>
                    <a:lnTo>
                      <a:pt x="528" y="53"/>
                    </a:lnTo>
                    <a:lnTo>
                      <a:pt x="528" y="62"/>
                    </a:lnTo>
                    <a:lnTo>
                      <a:pt x="528" y="70"/>
                    </a:lnTo>
                    <a:lnTo>
                      <a:pt x="519" y="70"/>
                    </a:lnTo>
                    <a:lnTo>
                      <a:pt x="519" y="70"/>
                    </a:lnTo>
                    <a:lnTo>
                      <a:pt x="519" y="79"/>
                    </a:lnTo>
                    <a:lnTo>
                      <a:pt x="511" y="88"/>
                    </a:lnTo>
                    <a:lnTo>
                      <a:pt x="511" y="97"/>
                    </a:lnTo>
                    <a:lnTo>
                      <a:pt x="493" y="97"/>
                    </a:lnTo>
                    <a:lnTo>
                      <a:pt x="493" y="97"/>
                    </a:lnTo>
                    <a:lnTo>
                      <a:pt x="484" y="88"/>
                    </a:lnTo>
                    <a:lnTo>
                      <a:pt x="484" y="97"/>
                    </a:lnTo>
                    <a:lnTo>
                      <a:pt x="484" y="97"/>
                    </a:lnTo>
                    <a:lnTo>
                      <a:pt x="475" y="88"/>
                    </a:lnTo>
                    <a:lnTo>
                      <a:pt x="484" y="88"/>
                    </a:lnTo>
                    <a:lnTo>
                      <a:pt x="475" y="88"/>
                    </a:lnTo>
                    <a:lnTo>
                      <a:pt x="475" y="88"/>
                    </a:lnTo>
                    <a:lnTo>
                      <a:pt x="475" y="97"/>
                    </a:lnTo>
                    <a:lnTo>
                      <a:pt x="475" y="97"/>
                    </a:lnTo>
                    <a:lnTo>
                      <a:pt x="467" y="97"/>
                    </a:lnTo>
                    <a:lnTo>
                      <a:pt x="458" y="97"/>
                    </a:lnTo>
                    <a:lnTo>
                      <a:pt x="449" y="97"/>
                    </a:lnTo>
                    <a:lnTo>
                      <a:pt x="449" y="97"/>
                    </a:lnTo>
                    <a:lnTo>
                      <a:pt x="449" y="97"/>
                    </a:lnTo>
                    <a:lnTo>
                      <a:pt x="475" y="106"/>
                    </a:lnTo>
                    <a:lnTo>
                      <a:pt x="475" y="106"/>
                    </a:lnTo>
                    <a:lnTo>
                      <a:pt x="484" y="106"/>
                    </a:lnTo>
                    <a:lnTo>
                      <a:pt x="484" y="115"/>
                    </a:lnTo>
                    <a:lnTo>
                      <a:pt x="484" y="115"/>
                    </a:lnTo>
                    <a:lnTo>
                      <a:pt x="475" y="115"/>
                    </a:lnTo>
                    <a:lnTo>
                      <a:pt x="484" y="115"/>
                    </a:lnTo>
                    <a:lnTo>
                      <a:pt x="484" y="124"/>
                    </a:lnTo>
                    <a:lnTo>
                      <a:pt x="475" y="132"/>
                    </a:lnTo>
                    <a:lnTo>
                      <a:pt x="475" y="132"/>
                    </a:lnTo>
                    <a:lnTo>
                      <a:pt x="467" y="132"/>
                    </a:lnTo>
                    <a:lnTo>
                      <a:pt x="458" y="132"/>
                    </a:lnTo>
                    <a:lnTo>
                      <a:pt x="458" y="124"/>
                    </a:lnTo>
                    <a:lnTo>
                      <a:pt x="449" y="124"/>
                    </a:lnTo>
                    <a:lnTo>
                      <a:pt x="458" y="132"/>
                    </a:lnTo>
                    <a:lnTo>
                      <a:pt x="467" y="141"/>
                    </a:lnTo>
                    <a:lnTo>
                      <a:pt x="475" y="141"/>
                    </a:lnTo>
                    <a:lnTo>
                      <a:pt x="484" y="132"/>
                    </a:lnTo>
                    <a:lnTo>
                      <a:pt x="493" y="132"/>
                    </a:lnTo>
                    <a:lnTo>
                      <a:pt x="484" y="132"/>
                    </a:lnTo>
                    <a:lnTo>
                      <a:pt x="493" y="132"/>
                    </a:lnTo>
                    <a:lnTo>
                      <a:pt x="493" y="124"/>
                    </a:lnTo>
                    <a:lnTo>
                      <a:pt x="493" y="124"/>
                    </a:lnTo>
                    <a:lnTo>
                      <a:pt x="493" y="124"/>
                    </a:lnTo>
                    <a:lnTo>
                      <a:pt x="493" y="132"/>
                    </a:lnTo>
                    <a:lnTo>
                      <a:pt x="502" y="132"/>
                    </a:lnTo>
                    <a:lnTo>
                      <a:pt x="502" y="124"/>
                    </a:lnTo>
                    <a:lnTo>
                      <a:pt x="502" y="124"/>
                    </a:lnTo>
                    <a:lnTo>
                      <a:pt x="502" y="132"/>
                    </a:lnTo>
                    <a:lnTo>
                      <a:pt x="502" y="132"/>
                    </a:lnTo>
                    <a:lnTo>
                      <a:pt x="502" y="141"/>
                    </a:lnTo>
                    <a:lnTo>
                      <a:pt x="493" y="150"/>
                    </a:lnTo>
                    <a:lnTo>
                      <a:pt x="493" y="150"/>
                    </a:lnTo>
                    <a:lnTo>
                      <a:pt x="484" y="150"/>
                    </a:lnTo>
                    <a:lnTo>
                      <a:pt x="484" y="150"/>
                    </a:lnTo>
                    <a:lnTo>
                      <a:pt x="484" y="150"/>
                    </a:lnTo>
                    <a:lnTo>
                      <a:pt x="475" y="150"/>
                    </a:lnTo>
                    <a:lnTo>
                      <a:pt x="475" y="150"/>
                    </a:lnTo>
                    <a:lnTo>
                      <a:pt x="475" y="150"/>
                    </a:lnTo>
                    <a:lnTo>
                      <a:pt x="458" y="159"/>
                    </a:lnTo>
                    <a:lnTo>
                      <a:pt x="458" y="159"/>
                    </a:lnTo>
                    <a:lnTo>
                      <a:pt x="449" y="168"/>
                    </a:lnTo>
                    <a:lnTo>
                      <a:pt x="449" y="177"/>
                    </a:lnTo>
                    <a:lnTo>
                      <a:pt x="449" y="177"/>
                    </a:lnTo>
                    <a:lnTo>
                      <a:pt x="440" y="168"/>
                    </a:lnTo>
                    <a:lnTo>
                      <a:pt x="440" y="168"/>
                    </a:lnTo>
                    <a:lnTo>
                      <a:pt x="440" y="168"/>
                    </a:lnTo>
                    <a:lnTo>
                      <a:pt x="440" y="168"/>
                    </a:lnTo>
                    <a:lnTo>
                      <a:pt x="440" y="177"/>
                    </a:lnTo>
                    <a:lnTo>
                      <a:pt x="440" y="177"/>
                    </a:lnTo>
                    <a:lnTo>
                      <a:pt x="431" y="185"/>
                    </a:lnTo>
                    <a:lnTo>
                      <a:pt x="423" y="194"/>
                    </a:lnTo>
                    <a:lnTo>
                      <a:pt x="423" y="212"/>
                    </a:lnTo>
                    <a:lnTo>
                      <a:pt x="423" y="212"/>
                    </a:lnTo>
                    <a:lnTo>
                      <a:pt x="423" y="230"/>
                    </a:lnTo>
                    <a:lnTo>
                      <a:pt x="414" y="212"/>
                    </a:lnTo>
                    <a:lnTo>
                      <a:pt x="414" y="212"/>
                    </a:lnTo>
                    <a:lnTo>
                      <a:pt x="414" y="212"/>
                    </a:lnTo>
                    <a:lnTo>
                      <a:pt x="414" y="221"/>
                    </a:lnTo>
                    <a:lnTo>
                      <a:pt x="414" y="230"/>
                    </a:lnTo>
                    <a:lnTo>
                      <a:pt x="414" y="238"/>
                    </a:lnTo>
                    <a:lnTo>
                      <a:pt x="405" y="238"/>
                    </a:lnTo>
                    <a:lnTo>
                      <a:pt x="387" y="238"/>
                    </a:lnTo>
                    <a:lnTo>
                      <a:pt x="379" y="238"/>
                    </a:lnTo>
                    <a:lnTo>
                      <a:pt x="379" y="238"/>
                    </a:lnTo>
                    <a:lnTo>
                      <a:pt x="379" y="238"/>
                    </a:lnTo>
                    <a:lnTo>
                      <a:pt x="291" y="185"/>
                    </a:lnTo>
                    <a:lnTo>
                      <a:pt x="220" y="194"/>
                    </a:lnTo>
                    <a:lnTo>
                      <a:pt x="220" y="194"/>
                    </a:lnTo>
                    <a:lnTo>
                      <a:pt x="220" y="185"/>
                    </a:lnTo>
                    <a:lnTo>
                      <a:pt x="220" y="185"/>
                    </a:lnTo>
                    <a:lnTo>
                      <a:pt x="212" y="177"/>
                    </a:lnTo>
                    <a:lnTo>
                      <a:pt x="212" y="177"/>
                    </a:lnTo>
                    <a:lnTo>
                      <a:pt x="203" y="168"/>
                    </a:lnTo>
                    <a:lnTo>
                      <a:pt x="185" y="177"/>
                    </a:lnTo>
                    <a:lnTo>
                      <a:pt x="124" y="177"/>
                    </a:lnTo>
                    <a:lnTo>
                      <a:pt x="124" y="185"/>
                    </a:lnTo>
                    <a:lnTo>
                      <a:pt x="115" y="185"/>
                    </a:lnTo>
                    <a:lnTo>
                      <a:pt x="106" y="185"/>
                    </a:lnTo>
                    <a:lnTo>
                      <a:pt x="97" y="194"/>
                    </a:lnTo>
                    <a:lnTo>
                      <a:pt x="88" y="194"/>
                    </a:lnTo>
                    <a:lnTo>
                      <a:pt x="80" y="203"/>
                    </a:lnTo>
                    <a:lnTo>
                      <a:pt x="0" y="212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45" name="Freeform 66"/>
              <p:cNvSpPr>
                <a:spLocks/>
              </p:cNvSpPr>
              <p:nvPr/>
            </p:nvSpPr>
            <p:spPr bwMode="auto">
              <a:xfrm>
                <a:off x="4057781" y="2923958"/>
                <a:ext cx="708382" cy="319308"/>
              </a:xfrm>
              <a:custGeom>
                <a:avLst/>
                <a:gdLst/>
                <a:ahLst/>
                <a:cxnLst>
                  <a:cxn ang="0">
                    <a:pos x="9" y="185"/>
                  </a:cxn>
                  <a:cxn ang="0">
                    <a:pos x="27" y="168"/>
                  </a:cxn>
                  <a:cxn ang="0">
                    <a:pos x="71" y="141"/>
                  </a:cxn>
                  <a:cxn ang="0">
                    <a:pos x="80" y="124"/>
                  </a:cxn>
                  <a:cxn ang="0">
                    <a:pos x="97" y="124"/>
                  </a:cxn>
                  <a:cxn ang="0">
                    <a:pos x="115" y="106"/>
                  </a:cxn>
                  <a:cxn ang="0">
                    <a:pos x="132" y="88"/>
                  </a:cxn>
                  <a:cxn ang="0">
                    <a:pos x="141" y="70"/>
                  </a:cxn>
                  <a:cxn ang="0">
                    <a:pos x="229" y="53"/>
                  </a:cxn>
                  <a:cxn ang="0">
                    <a:pos x="493" y="9"/>
                  </a:cxn>
                  <a:cxn ang="0">
                    <a:pos x="511" y="26"/>
                  </a:cxn>
                  <a:cxn ang="0">
                    <a:pos x="502" y="26"/>
                  </a:cxn>
                  <a:cxn ang="0">
                    <a:pos x="484" y="26"/>
                  </a:cxn>
                  <a:cxn ang="0">
                    <a:pos x="493" y="35"/>
                  </a:cxn>
                  <a:cxn ang="0">
                    <a:pos x="475" y="35"/>
                  </a:cxn>
                  <a:cxn ang="0">
                    <a:pos x="458" y="53"/>
                  </a:cxn>
                  <a:cxn ang="0">
                    <a:pos x="458" y="35"/>
                  </a:cxn>
                  <a:cxn ang="0">
                    <a:pos x="458" y="44"/>
                  </a:cxn>
                  <a:cxn ang="0">
                    <a:pos x="467" y="53"/>
                  </a:cxn>
                  <a:cxn ang="0">
                    <a:pos x="493" y="53"/>
                  </a:cxn>
                  <a:cxn ang="0">
                    <a:pos x="502" y="62"/>
                  </a:cxn>
                  <a:cxn ang="0">
                    <a:pos x="502" y="70"/>
                  </a:cxn>
                  <a:cxn ang="0">
                    <a:pos x="519" y="53"/>
                  </a:cxn>
                  <a:cxn ang="0">
                    <a:pos x="528" y="53"/>
                  </a:cxn>
                  <a:cxn ang="0">
                    <a:pos x="519" y="70"/>
                  </a:cxn>
                  <a:cxn ang="0">
                    <a:pos x="493" y="97"/>
                  </a:cxn>
                  <a:cxn ang="0">
                    <a:pos x="484" y="97"/>
                  </a:cxn>
                  <a:cxn ang="0">
                    <a:pos x="475" y="88"/>
                  </a:cxn>
                  <a:cxn ang="0">
                    <a:pos x="458" y="97"/>
                  </a:cxn>
                  <a:cxn ang="0">
                    <a:pos x="475" y="106"/>
                  </a:cxn>
                  <a:cxn ang="0">
                    <a:pos x="484" y="115"/>
                  </a:cxn>
                  <a:cxn ang="0">
                    <a:pos x="475" y="132"/>
                  </a:cxn>
                  <a:cxn ang="0">
                    <a:pos x="458" y="124"/>
                  </a:cxn>
                  <a:cxn ang="0">
                    <a:pos x="475" y="141"/>
                  </a:cxn>
                  <a:cxn ang="0">
                    <a:pos x="493" y="132"/>
                  </a:cxn>
                  <a:cxn ang="0">
                    <a:pos x="493" y="132"/>
                  </a:cxn>
                  <a:cxn ang="0">
                    <a:pos x="502" y="132"/>
                  </a:cxn>
                  <a:cxn ang="0">
                    <a:pos x="493" y="150"/>
                  </a:cxn>
                  <a:cxn ang="0">
                    <a:pos x="475" y="150"/>
                  </a:cxn>
                  <a:cxn ang="0">
                    <a:pos x="458" y="159"/>
                  </a:cxn>
                  <a:cxn ang="0">
                    <a:pos x="440" y="168"/>
                  </a:cxn>
                  <a:cxn ang="0">
                    <a:pos x="440" y="177"/>
                  </a:cxn>
                  <a:cxn ang="0">
                    <a:pos x="423" y="212"/>
                  </a:cxn>
                  <a:cxn ang="0">
                    <a:pos x="414" y="212"/>
                  </a:cxn>
                  <a:cxn ang="0">
                    <a:pos x="414" y="238"/>
                  </a:cxn>
                  <a:cxn ang="0">
                    <a:pos x="379" y="238"/>
                  </a:cxn>
                  <a:cxn ang="0">
                    <a:pos x="220" y="194"/>
                  </a:cxn>
                  <a:cxn ang="0">
                    <a:pos x="212" y="177"/>
                  </a:cxn>
                  <a:cxn ang="0">
                    <a:pos x="124" y="185"/>
                  </a:cxn>
                  <a:cxn ang="0">
                    <a:pos x="88" y="194"/>
                  </a:cxn>
                </a:cxnLst>
                <a:rect l="0" t="0" r="r" b="b"/>
                <a:pathLst>
                  <a:path w="528" h="238">
                    <a:moveTo>
                      <a:pt x="0" y="212"/>
                    </a:moveTo>
                    <a:lnTo>
                      <a:pt x="0" y="194"/>
                    </a:lnTo>
                    <a:lnTo>
                      <a:pt x="9" y="194"/>
                    </a:lnTo>
                    <a:lnTo>
                      <a:pt x="9" y="185"/>
                    </a:lnTo>
                    <a:lnTo>
                      <a:pt x="18" y="177"/>
                    </a:lnTo>
                    <a:lnTo>
                      <a:pt x="18" y="177"/>
                    </a:lnTo>
                    <a:lnTo>
                      <a:pt x="18" y="168"/>
                    </a:lnTo>
                    <a:lnTo>
                      <a:pt x="27" y="168"/>
                    </a:lnTo>
                    <a:lnTo>
                      <a:pt x="44" y="168"/>
                    </a:lnTo>
                    <a:lnTo>
                      <a:pt x="44" y="159"/>
                    </a:lnTo>
                    <a:lnTo>
                      <a:pt x="62" y="150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80" y="132"/>
                    </a:lnTo>
                    <a:lnTo>
                      <a:pt x="80" y="124"/>
                    </a:lnTo>
                    <a:lnTo>
                      <a:pt x="80" y="124"/>
                    </a:lnTo>
                    <a:lnTo>
                      <a:pt x="88" y="124"/>
                    </a:lnTo>
                    <a:lnTo>
                      <a:pt x="88" y="124"/>
                    </a:lnTo>
                    <a:lnTo>
                      <a:pt x="88" y="115"/>
                    </a:lnTo>
                    <a:lnTo>
                      <a:pt x="97" y="124"/>
                    </a:lnTo>
                    <a:lnTo>
                      <a:pt x="97" y="124"/>
                    </a:lnTo>
                    <a:lnTo>
                      <a:pt x="106" y="115"/>
                    </a:lnTo>
                    <a:lnTo>
                      <a:pt x="106" y="115"/>
                    </a:lnTo>
                    <a:lnTo>
                      <a:pt x="115" y="106"/>
                    </a:lnTo>
                    <a:lnTo>
                      <a:pt x="124" y="106"/>
                    </a:lnTo>
                    <a:lnTo>
                      <a:pt x="124" y="106"/>
                    </a:lnTo>
                    <a:lnTo>
                      <a:pt x="132" y="106"/>
                    </a:lnTo>
                    <a:lnTo>
                      <a:pt x="132" y="88"/>
                    </a:lnTo>
                    <a:lnTo>
                      <a:pt x="141" y="88"/>
                    </a:lnTo>
                    <a:lnTo>
                      <a:pt x="141" y="88"/>
                    </a:lnTo>
                    <a:lnTo>
                      <a:pt x="141" y="79"/>
                    </a:lnTo>
                    <a:lnTo>
                      <a:pt x="141" y="70"/>
                    </a:lnTo>
                    <a:lnTo>
                      <a:pt x="150" y="62"/>
                    </a:lnTo>
                    <a:lnTo>
                      <a:pt x="159" y="62"/>
                    </a:lnTo>
                    <a:lnTo>
                      <a:pt x="176" y="62"/>
                    </a:lnTo>
                    <a:lnTo>
                      <a:pt x="229" y="53"/>
                    </a:lnTo>
                    <a:lnTo>
                      <a:pt x="361" y="26"/>
                    </a:lnTo>
                    <a:lnTo>
                      <a:pt x="431" y="17"/>
                    </a:lnTo>
                    <a:lnTo>
                      <a:pt x="493" y="0"/>
                    </a:lnTo>
                    <a:lnTo>
                      <a:pt x="493" y="9"/>
                    </a:lnTo>
                    <a:lnTo>
                      <a:pt x="502" y="9"/>
                    </a:lnTo>
                    <a:lnTo>
                      <a:pt x="502" y="9"/>
                    </a:lnTo>
                    <a:lnTo>
                      <a:pt x="502" y="17"/>
                    </a:lnTo>
                    <a:lnTo>
                      <a:pt x="511" y="26"/>
                    </a:lnTo>
                    <a:lnTo>
                      <a:pt x="511" y="35"/>
                    </a:lnTo>
                    <a:lnTo>
                      <a:pt x="511" y="26"/>
                    </a:lnTo>
                    <a:lnTo>
                      <a:pt x="502" y="17"/>
                    </a:lnTo>
                    <a:lnTo>
                      <a:pt x="502" y="26"/>
                    </a:lnTo>
                    <a:lnTo>
                      <a:pt x="511" y="26"/>
                    </a:lnTo>
                    <a:lnTo>
                      <a:pt x="502" y="26"/>
                    </a:lnTo>
                    <a:lnTo>
                      <a:pt x="493" y="26"/>
                    </a:lnTo>
                    <a:lnTo>
                      <a:pt x="484" y="26"/>
                    </a:lnTo>
                    <a:lnTo>
                      <a:pt x="493" y="26"/>
                    </a:lnTo>
                    <a:lnTo>
                      <a:pt x="493" y="26"/>
                    </a:lnTo>
                    <a:lnTo>
                      <a:pt x="493" y="35"/>
                    </a:lnTo>
                    <a:lnTo>
                      <a:pt x="493" y="35"/>
                    </a:lnTo>
                    <a:lnTo>
                      <a:pt x="484" y="35"/>
                    </a:lnTo>
                    <a:lnTo>
                      <a:pt x="493" y="35"/>
                    </a:lnTo>
                    <a:lnTo>
                      <a:pt x="484" y="35"/>
                    </a:lnTo>
                    <a:lnTo>
                      <a:pt x="475" y="35"/>
                    </a:lnTo>
                    <a:lnTo>
                      <a:pt x="484" y="44"/>
                    </a:lnTo>
                    <a:lnTo>
                      <a:pt x="475" y="53"/>
                    </a:lnTo>
                    <a:lnTo>
                      <a:pt x="467" y="53"/>
                    </a:lnTo>
                    <a:lnTo>
                      <a:pt x="458" y="53"/>
                    </a:lnTo>
                    <a:lnTo>
                      <a:pt x="458" y="35"/>
                    </a:lnTo>
                    <a:lnTo>
                      <a:pt x="458" y="35"/>
                    </a:lnTo>
                    <a:lnTo>
                      <a:pt x="458" y="35"/>
                    </a:lnTo>
                    <a:lnTo>
                      <a:pt x="458" y="35"/>
                    </a:lnTo>
                    <a:lnTo>
                      <a:pt x="458" y="26"/>
                    </a:lnTo>
                    <a:lnTo>
                      <a:pt x="458" y="35"/>
                    </a:lnTo>
                    <a:lnTo>
                      <a:pt x="458" y="35"/>
                    </a:lnTo>
                    <a:lnTo>
                      <a:pt x="458" y="44"/>
                    </a:lnTo>
                    <a:lnTo>
                      <a:pt x="458" y="44"/>
                    </a:lnTo>
                    <a:lnTo>
                      <a:pt x="467" y="53"/>
                    </a:lnTo>
                    <a:lnTo>
                      <a:pt x="467" y="62"/>
                    </a:lnTo>
                    <a:lnTo>
                      <a:pt x="467" y="53"/>
                    </a:lnTo>
                    <a:lnTo>
                      <a:pt x="475" y="53"/>
                    </a:lnTo>
                    <a:lnTo>
                      <a:pt x="475" y="53"/>
                    </a:lnTo>
                    <a:lnTo>
                      <a:pt x="493" y="53"/>
                    </a:lnTo>
                    <a:lnTo>
                      <a:pt x="493" y="53"/>
                    </a:lnTo>
                    <a:lnTo>
                      <a:pt x="502" y="44"/>
                    </a:lnTo>
                    <a:lnTo>
                      <a:pt x="502" y="44"/>
                    </a:lnTo>
                    <a:lnTo>
                      <a:pt x="502" y="53"/>
                    </a:lnTo>
                    <a:lnTo>
                      <a:pt x="502" y="62"/>
                    </a:lnTo>
                    <a:lnTo>
                      <a:pt x="502" y="62"/>
                    </a:lnTo>
                    <a:lnTo>
                      <a:pt x="511" y="62"/>
                    </a:lnTo>
                    <a:lnTo>
                      <a:pt x="502" y="70"/>
                    </a:lnTo>
                    <a:lnTo>
                      <a:pt x="502" y="70"/>
                    </a:lnTo>
                    <a:lnTo>
                      <a:pt x="511" y="70"/>
                    </a:lnTo>
                    <a:lnTo>
                      <a:pt x="511" y="53"/>
                    </a:lnTo>
                    <a:lnTo>
                      <a:pt x="511" y="53"/>
                    </a:lnTo>
                    <a:lnTo>
                      <a:pt x="519" y="53"/>
                    </a:lnTo>
                    <a:lnTo>
                      <a:pt x="519" y="44"/>
                    </a:lnTo>
                    <a:lnTo>
                      <a:pt x="519" y="44"/>
                    </a:lnTo>
                    <a:lnTo>
                      <a:pt x="519" y="53"/>
                    </a:lnTo>
                    <a:lnTo>
                      <a:pt x="528" y="53"/>
                    </a:lnTo>
                    <a:lnTo>
                      <a:pt x="528" y="62"/>
                    </a:lnTo>
                    <a:lnTo>
                      <a:pt x="528" y="70"/>
                    </a:lnTo>
                    <a:lnTo>
                      <a:pt x="519" y="70"/>
                    </a:lnTo>
                    <a:lnTo>
                      <a:pt x="519" y="70"/>
                    </a:lnTo>
                    <a:lnTo>
                      <a:pt x="519" y="79"/>
                    </a:lnTo>
                    <a:lnTo>
                      <a:pt x="511" y="88"/>
                    </a:lnTo>
                    <a:lnTo>
                      <a:pt x="511" y="97"/>
                    </a:lnTo>
                    <a:lnTo>
                      <a:pt x="493" y="97"/>
                    </a:lnTo>
                    <a:lnTo>
                      <a:pt x="493" y="97"/>
                    </a:lnTo>
                    <a:lnTo>
                      <a:pt x="484" y="88"/>
                    </a:lnTo>
                    <a:lnTo>
                      <a:pt x="484" y="97"/>
                    </a:lnTo>
                    <a:lnTo>
                      <a:pt x="484" y="97"/>
                    </a:lnTo>
                    <a:lnTo>
                      <a:pt x="475" y="88"/>
                    </a:lnTo>
                    <a:lnTo>
                      <a:pt x="484" y="88"/>
                    </a:lnTo>
                    <a:lnTo>
                      <a:pt x="475" y="88"/>
                    </a:lnTo>
                    <a:lnTo>
                      <a:pt x="475" y="88"/>
                    </a:lnTo>
                    <a:lnTo>
                      <a:pt x="475" y="97"/>
                    </a:lnTo>
                    <a:lnTo>
                      <a:pt x="475" y="97"/>
                    </a:lnTo>
                    <a:lnTo>
                      <a:pt x="467" y="97"/>
                    </a:lnTo>
                    <a:lnTo>
                      <a:pt x="458" y="97"/>
                    </a:lnTo>
                    <a:lnTo>
                      <a:pt x="449" y="97"/>
                    </a:lnTo>
                    <a:lnTo>
                      <a:pt x="449" y="97"/>
                    </a:lnTo>
                    <a:lnTo>
                      <a:pt x="449" y="97"/>
                    </a:lnTo>
                    <a:lnTo>
                      <a:pt x="475" y="106"/>
                    </a:lnTo>
                    <a:lnTo>
                      <a:pt x="475" y="106"/>
                    </a:lnTo>
                    <a:lnTo>
                      <a:pt x="484" y="106"/>
                    </a:lnTo>
                    <a:lnTo>
                      <a:pt x="484" y="115"/>
                    </a:lnTo>
                    <a:lnTo>
                      <a:pt x="484" y="115"/>
                    </a:lnTo>
                    <a:lnTo>
                      <a:pt x="475" y="115"/>
                    </a:lnTo>
                    <a:lnTo>
                      <a:pt x="484" y="115"/>
                    </a:lnTo>
                    <a:lnTo>
                      <a:pt x="484" y="124"/>
                    </a:lnTo>
                    <a:lnTo>
                      <a:pt x="475" y="132"/>
                    </a:lnTo>
                    <a:lnTo>
                      <a:pt x="475" y="132"/>
                    </a:lnTo>
                    <a:lnTo>
                      <a:pt x="467" y="132"/>
                    </a:lnTo>
                    <a:lnTo>
                      <a:pt x="458" y="132"/>
                    </a:lnTo>
                    <a:lnTo>
                      <a:pt x="458" y="124"/>
                    </a:lnTo>
                    <a:lnTo>
                      <a:pt x="449" y="124"/>
                    </a:lnTo>
                    <a:lnTo>
                      <a:pt x="458" y="132"/>
                    </a:lnTo>
                    <a:lnTo>
                      <a:pt x="467" y="141"/>
                    </a:lnTo>
                    <a:lnTo>
                      <a:pt x="475" y="141"/>
                    </a:lnTo>
                    <a:lnTo>
                      <a:pt x="484" y="132"/>
                    </a:lnTo>
                    <a:lnTo>
                      <a:pt x="493" y="132"/>
                    </a:lnTo>
                    <a:lnTo>
                      <a:pt x="484" y="132"/>
                    </a:lnTo>
                    <a:lnTo>
                      <a:pt x="493" y="132"/>
                    </a:lnTo>
                    <a:lnTo>
                      <a:pt x="493" y="124"/>
                    </a:lnTo>
                    <a:lnTo>
                      <a:pt x="493" y="124"/>
                    </a:lnTo>
                    <a:lnTo>
                      <a:pt x="493" y="124"/>
                    </a:lnTo>
                    <a:lnTo>
                      <a:pt x="493" y="132"/>
                    </a:lnTo>
                    <a:lnTo>
                      <a:pt x="502" y="132"/>
                    </a:lnTo>
                    <a:lnTo>
                      <a:pt x="502" y="124"/>
                    </a:lnTo>
                    <a:lnTo>
                      <a:pt x="502" y="124"/>
                    </a:lnTo>
                    <a:lnTo>
                      <a:pt x="502" y="132"/>
                    </a:lnTo>
                    <a:lnTo>
                      <a:pt x="502" y="132"/>
                    </a:lnTo>
                    <a:lnTo>
                      <a:pt x="502" y="141"/>
                    </a:lnTo>
                    <a:lnTo>
                      <a:pt x="493" y="150"/>
                    </a:lnTo>
                    <a:lnTo>
                      <a:pt x="493" y="150"/>
                    </a:lnTo>
                    <a:lnTo>
                      <a:pt x="484" y="150"/>
                    </a:lnTo>
                    <a:lnTo>
                      <a:pt x="484" y="150"/>
                    </a:lnTo>
                    <a:lnTo>
                      <a:pt x="484" y="150"/>
                    </a:lnTo>
                    <a:lnTo>
                      <a:pt x="475" y="150"/>
                    </a:lnTo>
                    <a:lnTo>
                      <a:pt x="475" y="150"/>
                    </a:lnTo>
                    <a:lnTo>
                      <a:pt x="475" y="150"/>
                    </a:lnTo>
                    <a:lnTo>
                      <a:pt x="458" y="159"/>
                    </a:lnTo>
                    <a:lnTo>
                      <a:pt x="458" y="159"/>
                    </a:lnTo>
                    <a:lnTo>
                      <a:pt x="449" y="168"/>
                    </a:lnTo>
                    <a:lnTo>
                      <a:pt x="449" y="177"/>
                    </a:lnTo>
                    <a:lnTo>
                      <a:pt x="449" y="177"/>
                    </a:lnTo>
                    <a:lnTo>
                      <a:pt x="440" y="168"/>
                    </a:lnTo>
                    <a:lnTo>
                      <a:pt x="440" y="168"/>
                    </a:lnTo>
                    <a:lnTo>
                      <a:pt x="440" y="168"/>
                    </a:lnTo>
                    <a:lnTo>
                      <a:pt x="440" y="168"/>
                    </a:lnTo>
                    <a:lnTo>
                      <a:pt x="440" y="177"/>
                    </a:lnTo>
                    <a:lnTo>
                      <a:pt x="440" y="177"/>
                    </a:lnTo>
                    <a:lnTo>
                      <a:pt x="431" y="185"/>
                    </a:lnTo>
                    <a:lnTo>
                      <a:pt x="423" y="194"/>
                    </a:lnTo>
                    <a:lnTo>
                      <a:pt x="423" y="212"/>
                    </a:lnTo>
                    <a:lnTo>
                      <a:pt x="423" y="212"/>
                    </a:lnTo>
                    <a:lnTo>
                      <a:pt x="423" y="230"/>
                    </a:lnTo>
                    <a:lnTo>
                      <a:pt x="414" y="212"/>
                    </a:lnTo>
                    <a:lnTo>
                      <a:pt x="414" y="212"/>
                    </a:lnTo>
                    <a:lnTo>
                      <a:pt x="414" y="212"/>
                    </a:lnTo>
                    <a:lnTo>
                      <a:pt x="414" y="221"/>
                    </a:lnTo>
                    <a:lnTo>
                      <a:pt x="414" y="230"/>
                    </a:lnTo>
                    <a:lnTo>
                      <a:pt x="414" y="238"/>
                    </a:lnTo>
                    <a:lnTo>
                      <a:pt x="405" y="238"/>
                    </a:lnTo>
                    <a:lnTo>
                      <a:pt x="387" y="238"/>
                    </a:lnTo>
                    <a:lnTo>
                      <a:pt x="379" y="238"/>
                    </a:lnTo>
                    <a:lnTo>
                      <a:pt x="379" y="238"/>
                    </a:lnTo>
                    <a:lnTo>
                      <a:pt x="379" y="238"/>
                    </a:lnTo>
                    <a:lnTo>
                      <a:pt x="291" y="185"/>
                    </a:lnTo>
                    <a:lnTo>
                      <a:pt x="220" y="194"/>
                    </a:lnTo>
                    <a:lnTo>
                      <a:pt x="220" y="194"/>
                    </a:lnTo>
                    <a:lnTo>
                      <a:pt x="220" y="185"/>
                    </a:lnTo>
                    <a:lnTo>
                      <a:pt x="220" y="185"/>
                    </a:lnTo>
                    <a:lnTo>
                      <a:pt x="212" y="177"/>
                    </a:lnTo>
                    <a:lnTo>
                      <a:pt x="212" y="177"/>
                    </a:lnTo>
                    <a:lnTo>
                      <a:pt x="203" y="168"/>
                    </a:lnTo>
                    <a:lnTo>
                      <a:pt x="185" y="177"/>
                    </a:lnTo>
                    <a:lnTo>
                      <a:pt x="124" y="177"/>
                    </a:lnTo>
                    <a:lnTo>
                      <a:pt x="124" y="185"/>
                    </a:lnTo>
                    <a:lnTo>
                      <a:pt x="115" y="185"/>
                    </a:lnTo>
                    <a:lnTo>
                      <a:pt x="106" y="185"/>
                    </a:lnTo>
                    <a:lnTo>
                      <a:pt x="97" y="194"/>
                    </a:lnTo>
                    <a:lnTo>
                      <a:pt x="88" y="194"/>
                    </a:lnTo>
                    <a:lnTo>
                      <a:pt x="80" y="203"/>
                    </a:lnTo>
                    <a:lnTo>
                      <a:pt x="0" y="212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46" name="Freeform 67"/>
              <p:cNvSpPr>
                <a:spLocks/>
              </p:cNvSpPr>
              <p:nvPr/>
            </p:nvSpPr>
            <p:spPr bwMode="auto">
              <a:xfrm>
                <a:off x="4731280" y="2923958"/>
                <a:ext cx="46958" cy="7110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9" y="17"/>
                  </a:cxn>
                  <a:cxn ang="0">
                    <a:pos x="17" y="26"/>
                  </a:cxn>
                  <a:cxn ang="0">
                    <a:pos x="35" y="44"/>
                  </a:cxn>
                  <a:cxn ang="0">
                    <a:pos x="35" y="53"/>
                  </a:cxn>
                  <a:cxn ang="0">
                    <a:pos x="35" y="53"/>
                  </a:cxn>
                  <a:cxn ang="0">
                    <a:pos x="26" y="44"/>
                  </a:cxn>
                  <a:cxn ang="0">
                    <a:pos x="26" y="44"/>
                  </a:cxn>
                  <a:cxn ang="0">
                    <a:pos x="17" y="44"/>
                  </a:cxn>
                  <a:cxn ang="0">
                    <a:pos x="26" y="35"/>
                  </a:cxn>
                  <a:cxn ang="0">
                    <a:pos x="17" y="35"/>
                  </a:cxn>
                  <a:cxn ang="0">
                    <a:pos x="17" y="26"/>
                  </a:cxn>
                  <a:cxn ang="0">
                    <a:pos x="9" y="17"/>
                  </a:cxn>
                  <a:cxn ang="0">
                    <a:pos x="0" y="0"/>
                  </a:cxn>
                </a:cxnLst>
                <a:rect l="0" t="0" r="r" b="b"/>
                <a:pathLst>
                  <a:path w="35" h="53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9" y="17"/>
                    </a:lnTo>
                    <a:lnTo>
                      <a:pt x="17" y="26"/>
                    </a:lnTo>
                    <a:lnTo>
                      <a:pt x="35" y="44"/>
                    </a:lnTo>
                    <a:lnTo>
                      <a:pt x="35" y="53"/>
                    </a:lnTo>
                    <a:lnTo>
                      <a:pt x="35" y="53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17" y="44"/>
                    </a:lnTo>
                    <a:lnTo>
                      <a:pt x="26" y="35"/>
                    </a:lnTo>
                    <a:lnTo>
                      <a:pt x="17" y="35"/>
                    </a:lnTo>
                    <a:lnTo>
                      <a:pt x="17" y="26"/>
                    </a:lnTo>
                    <a:lnTo>
                      <a:pt x="9" y="1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47" name="Freeform 68"/>
              <p:cNvSpPr>
                <a:spLocks/>
              </p:cNvSpPr>
              <p:nvPr/>
            </p:nvSpPr>
            <p:spPr bwMode="auto">
              <a:xfrm>
                <a:off x="4731280" y="2923958"/>
                <a:ext cx="46958" cy="7110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9" y="17"/>
                  </a:cxn>
                  <a:cxn ang="0">
                    <a:pos x="17" y="26"/>
                  </a:cxn>
                  <a:cxn ang="0">
                    <a:pos x="35" y="44"/>
                  </a:cxn>
                  <a:cxn ang="0">
                    <a:pos x="35" y="53"/>
                  </a:cxn>
                  <a:cxn ang="0">
                    <a:pos x="35" y="53"/>
                  </a:cxn>
                  <a:cxn ang="0">
                    <a:pos x="26" y="44"/>
                  </a:cxn>
                  <a:cxn ang="0">
                    <a:pos x="26" y="44"/>
                  </a:cxn>
                  <a:cxn ang="0">
                    <a:pos x="17" y="44"/>
                  </a:cxn>
                  <a:cxn ang="0">
                    <a:pos x="26" y="35"/>
                  </a:cxn>
                  <a:cxn ang="0">
                    <a:pos x="17" y="35"/>
                  </a:cxn>
                  <a:cxn ang="0">
                    <a:pos x="17" y="26"/>
                  </a:cxn>
                  <a:cxn ang="0">
                    <a:pos x="9" y="17"/>
                  </a:cxn>
                  <a:cxn ang="0">
                    <a:pos x="0" y="0"/>
                  </a:cxn>
                </a:cxnLst>
                <a:rect l="0" t="0" r="r" b="b"/>
                <a:pathLst>
                  <a:path w="35" h="53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9" y="17"/>
                    </a:lnTo>
                    <a:lnTo>
                      <a:pt x="17" y="26"/>
                    </a:lnTo>
                    <a:lnTo>
                      <a:pt x="35" y="44"/>
                    </a:lnTo>
                    <a:lnTo>
                      <a:pt x="35" y="53"/>
                    </a:lnTo>
                    <a:lnTo>
                      <a:pt x="35" y="53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17" y="44"/>
                    </a:lnTo>
                    <a:lnTo>
                      <a:pt x="26" y="35"/>
                    </a:lnTo>
                    <a:lnTo>
                      <a:pt x="17" y="35"/>
                    </a:lnTo>
                    <a:lnTo>
                      <a:pt x="17" y="26"/>
                    </a:lnTo>
                    <a:lnTo>
                      <a:pt x="9" y="17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48" name="Freeform 69"/>
              <p:cNvSpPr>
                <a:spLocks/>
              </p:cNvSpPr>
              <p:nvPr/>
            </p:nvSpPr>
            <p:spPr bwMode="auto">
              <a:xfrm>
                <a:off x="4636025" y="3161427"/>
                <a:ext cx="24149" cy="22808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0" y="8"/>
                  </a:cxn>
                  <a:cxn ang="0">
                    <a:pos x="0" y="17"/>
                  </a:cxn>
                  <a:cxn ang="0">
                    <a:pos x="0" y="8"/>
                  </a:cxn>
                  <a:cxn ang="0">
                    <a:pos x="9" y="8"/>
                  </a:cxn>
                  <a:cxn ang="0">
                    <a:pos x="9" y="0"/>
                  </a:cxn>
                  <a:cxn ang="0">
                    <a:pos x="18" y="0"/>
                  </a:cxn>
                </a:cxnLst>
                <a:rect l="0" t="0" r="r" b="b"/>
                <a:pathLst>
                  <a:path w="18" h="17">
                    <a:moveTo>
                      <a:pt x="18" y="0"/>
                    </a:moveTo>
                    <a:lnTo>
                      <a:pt x="0" y="8"/>
                    </a:lnTo>
                    <a:lnTo>
                      <a:pt x="0" y="17"/>
                    </a:lnTo>
                    <a:lnTo>
                      <a:pt x="0" y="8"/>
                    </a:lnTo>
                    <a:lnTo>
                      <a:pt x="9" y="8"/>
                    </a:lnTo>
                    <a:lnTo>
                      <a:pt x="9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49" name="Freeform 70"/>
              <p:cNvSpPr>
                <a:spLocks/>
              </p:cNvSpPr>
              <p:nvPr/>
            </p:nvSpPr>
            <p:spPr bwMode="auto">
              <a:xfrm>
                <a:off x="4636025" y="3161427"/>
                <a:ext cx="24149" cy="22808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0" y="8"/>
                  </a:cxn>
                  <a:cxn ang="0">
                    <a:pos x="0" y="17"/>
                  </a:cxn>
                  <a:cxn ang="0">
                    <a:pos x="0" y="8"/>
                  </a:cxn>
                  <a:cxn ang="0">
                    <a:pos x="9" y="8"/>
                  </a:cxn>
                  <a:cxn ang="0">
                    <a:pos x="9" y="0"/>
                  </a:cxn>
                  <a:cxn ang="0">
                    <a:pos x="18" y="0"/>
                  </a:cxn>
                </a:cxnLst>
                <a:rect l="0" t="0" r="r" b="b"/>
                <a:pathLst>
                  <a:path w="18" h="17">
                    <a:moveTo>
                      <a:pt x="18" y="0"/>
                    </a:moveTo>
                    <a:lnTo>
                      <a:pt x="0" y="8"/>
                    </a:lnTo>
                    <a:lnTo>
                      <a:pt x="0" y="17"/>
                    </a:lnTo>
                    <a:lnTo>
                      <a:pt x="0" y="8"/>
                    </a:lnTo>
                    <a:lnTo>
                      <a:pt x="9" y="8"/>
                    </a:lnTo>
                    <a:lnTo>
                      <a:pt x="9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50" name="Freeform 71"/>
              <p:cNvSpPr>
                <a:spLocks/>
              </p:cNvSpPr>
              <p:nvPr/>
            </p:nvSpPr>
            <p:spPr bwMode="auto">
              <a:xfrm>
                <a:off x="4684323" y="3125203"/>
                <a:ext cx="22808" cy="12075"/>
              </a:xfrm>
              <a:custGeom>
                <a:avLst/>
                <a:gdLst/>
                <a:ahLst/>
                <a:cxnLst>
                  <a:cxn ang="0">
                    <a:pos x="17" y="9"/>
                  </a:cxn>
                  <a:cxn ang="0">
                    <a:pos x="8" y="9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8" y="9"/>
                  </a:cxn>
                  <a:cxn ang="0">
                    <a:pos x="17" y="0"/>
                  </a:cxn>
                  <a:cxn ang="0">
                    <a:pos x="17" y="9"/>
                  </a:cxn>
                </a:cxnLst>
                <a:rect l="0" t="0" r="r" b="b"/>
                <a:pathLst>
                  <a:path w="17" h="9">
                    <a:moveTo>
                      <a:pt x="17" y="9"/>
                    </a:moveTo>
                    <a:lnTo>
                      <a:pt x="8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8" y="9"/>
                    </a:lnTo>
                    <a:lnTo>
                      <a:pt x="17" y="0"/>
                    </a:lnTo>
                    <a:lnTo>
                      <a:pt x="17" y="9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51" name="Freeform 72"/>
              <p:cNvSpPr>
                <a:spLocks/>
              </p:cNvSpPr>
              <p:nvPr/>
            </p:nvSpPr>
            <p:spPr bwMode="auto">
              <a:xfrm>
                <a:off x="4684323" y="3125203"/>
                <a:ext cx="22808" cy="12075"/>
              </a:xfrm>
              <a:custGeom>
                <a:avLst/>
                <a:gdLst/>
                <a:ahLst/>
                <a:cxnLst>
                  <a:cxn ang="0">
                    <a:pos x="17" y="9"/>
                  </a:cxn>
                  <a:cxn ang="0">
                    <a:pos x="8" y="9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8" y="9"/>
                  </a:cxn>
                  <a:cxn ang="0">
                    <a:pos x="17" y="0"/>
                  </a:cxn>
                  <a:cxn ang="0">
                    <a:pos x="17" y="9"/>
                  </a:cxn>
                </a:cxnLst>
                <a:rect l="0" t="0" r="r" b="b"/>
                <a:pathLst>
                  <a:path w="17" h="9">
                    <a:moveTo>
                      <a:pt x="17" y="9"/>
                    </a:moveTo>
                    <a:lnTo>
                      <a:pt x="8" y="9"/>
                    </a:lnTo>
                    <a:lnTo>
                      <a:pt x="0" y="9"/>
                    </a:lnTo>
                    <a:lnTo>
                      <a:pt x="0" y="9"/>
                    </a:lnTo>
                    <a:lnTo>
                      <a:pt x="8" y="9"/>
                    </a:lnTo>
                    <a:lnTo>
                      <a:pt x="17" y="0"/>
                    </a:lnTo>
                    <a:lnTo>
                      <a:pt x="17" y="9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52" name="Freeform 73"/>
              <p:cNvSpPr>
                <a:spLocks/>
              </p:cNvSpPr>
              <p:nvPr/>
            </p:nvSpPr>
            <p:spPr bwMode="auto">
              <a:xfrm>
                <a:off x="4719206" y="3101053"/>
                <a:ext cx="24149" cy="36224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9" y="9"/>
                  </a:cxn>
                  <a:cxn ang="0">
                    <a:pos x="0" y="27"/>
                  </a:cxn>
                  <a:cxn ang="0">
                    <a:pos x="9" y="18"/>
                  </a:cxn>
                  <a:cxn ang="0">
                    <a:pos x="9" y="9"/>
                  </a:cxn>
                  <a:cxn ang="0">
                    <a:pos x="9" y="0"/>
                  </a:cxn>
                  <a:cxn ang="0">
                    <a:pos x="18" y="0"/>
                  </a:cxn>
                </a:cxnLst>
                <a:rect l="0" t="0" r="r" b="b"/>
                <a:pathLst>
                  <a:path w="18" h="27">
                    <a:moveTo>
                      <a:pt x="18" y="0"/>
                    </a:moveTo>
                    <a:lnTo>
                      <a:pt x="9" y="9"/>
                    </a:lnTo>
                    <a:lnTo>
                      <a:pt x="0" y="27"/>
                    </a:lnTo>
                    <a:lnTo>
                      <a:pt x="9" y="18"/>
                    </a:lnTo>
                    <a:lnTo>
                      <a:pt x="9" y="9"/>
                    </a:lnTo>
                    <a:lnTo>
                      <a:pt x="9" y="0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53" name="Freeform 74"/>
              <p:cNvSpPr>
                <a:spLocks/>
              </p:cNvSpPr>
              <p:nvPr/>
            </p:nvSpPr>
            <p:spPr bwMode="auto">
              <a:xfrm>
                <a:off x="4719206" y="3101053"/>
                <a:ext cx="24149" cy="36224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9" y="9"/>
                  </a:cxn>
                  <a:cxn ang="0">
                    <a:pos x="0" y="27"/>
                  </a:cxn>
                  <a:cxn ang="0">
                    <a:pos x="9" y="18"/>
                  </a:cxn>
                  <a:cxn ang="0">
                    <a:pos x="9" y="9"/>
                  </a:cxn>
                  <a:cxn ang="0">
                    <a:pos x="9" y="0"/>
                  </a:cxn>
                  <a:cxn ang="0">
                    <a:pos x="18" y="0"/>
                  </a:cxn>
                </a:cxnLst>
                <a:rect l="0" t="0" r="r" b="b"/>
                <a:pathLst>
                  <a:path w="18" h="27">
                    <a:moveTo>
                      <a:pt x="18" y="0"/>
                    </a:moveTo>
                    <a:lnTo>
                      <a:pt x="9" y="9"/>
                    </a:lnTo>
                    <a:lnTo>
                      <a:pt x="0" y="27"/>
                    </a:lnTo>
                    <a:lnTo>
                      <a:pt x="9" y="18"/>
                    </a:lnTo>
                    <a:lnTo>
                      <a:pt x="9" y="9"/>
                    </a:lnTo>
                    <a:lnTo>
                      <a:pt x="9" y="0"/>
                    </a:lnTo>
                    <a:lnTo>
                      <a:pt x="18" y="0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54" name="Freeform 79"/>
              <p:cNvSpPr>
                <a:spLocks/>
              </p:cNvSpPr>
              <p:nvPr/>
            </p:nvSpPr>
            <p:spPr bwMode="auto">
              <a:xfrm>
                <a:off x="1885679" y="3007139"/>
                <a:ext cx="579585" cy="605076"/>
              </a:xfrm>
              <a:custGeom>
                <a:avLst/>
                <a:gdLst/>
                <a:ahLst/>
                <a:cxnLst>
                  <a:cxn ang="0">
                    <a:pos x="0" y="451"/>
                  </a:cxn>
                  <a:cxn ang="0">
                    <a:pos x="0" y="442"/>
                  </a:cxn>
                  <a:cxn ang="0">
                    <a:pos x="62" y="0"/>
                  </a:cxn>
                  <a:cxn ang="0">
                    <a:pos x="159" y="8"/>
                  </a:cxn>
                  <a:cxn ang="0">
                    <a:pos x="256" y="17"/>
                  </a:cxn>
                  <a:cxn ang="0">
                    <a:pos x="361" y="26"/>
                  </a:cxn>
                  <a:cxn ang="0">
                    <a:pos x="432" y="35"/>
                  </a:cxn>
                  <a:cxn ang="0">
                    <a:pos x="432" y="79"/>
                  </a:cxn>
                  <a:cxn ang="0">
                    <a:pos x="432" y="79"/>
                  </a:cxn>
                  <a:cxn ang="0">
                    <a:pos x="432" y="79"/>
                  </a:cxn>
                  <a:cxn ang="0">
                    <a:pos x="414" y="274"/>
                  </a:cxn>
                  <a:cxn ang="0">
                    <a:pos x="414" y="344"/>
                  </a:cxn>
                  <a:cxn ang="0">
                    <a:pos x="405" y="424"/>
                  </a:cxn>
                  <a:cxn ang="0">
                    <a:pos x="405" y="433"/>
                  </a:cxn>
                  <a:cxn ang="0">
                    <a:pos x="396" y="433"/>
                  </a:cxn>
                  <a:cxn ang="0">
                    <a:pos x="344" y="424"/>
                  </a:cxn>
                  <a:cxn ang="0">
                    <a:pos x="282" y="424"/>
                  </a:cxn>
                  <a:cxn ang="0">
                    <a:pos x="220" y="415"/>
                  </a:cxn>
                  <a:cxn ang="0">
                    <a:pos x="168" y="415"/>
                  </a:cxn>
                  <a:cxn ang="0">
                    <a:pos x="168" y="415"/>
                  </a:cxn>
                  <a:cxn ang="0">
                    <a:pos x="168" y="424"/>
                  </a:cxn>
                  <a:cxn ang="0">
                    <a:pos x="176" y="424"/>
                  </a:cxn>
                  <a:cxn ang="0">
                    <a:pos x="176" y="433"/>
                  </a:cxn>
                  <a:cxn ang="0">
                    <a:pos x="176" y="433"/>
                  </a:cxn>
                  <a:cxn ang="0">
                    <a:pos x="62" y="415"/>
                  </a:cxn>
                  <a:cxn ang="0">
                    <a:pos x="62" y="424"/>
                  </a:cxn>
                  <a:cxn ang="0">
                    <a:pos x="62" y="451"/>
                  </a:cxn>
                  <a:cxn ang="0">
                    <a:pos x="53" y="451"/>
                  </a:cxn>
                  <a:cxn ang="0">
                    <a:pos x="0" y="451"/>
                  </a:cxn>
                </a:cxnLst>
                <a:rect l="0" t="0" r="r" b="b"/>
                <a:pathLst>
                  <a:path w="432" h="451">
                    <a:moveTo>
                      <a:pt x="0" y="451"/>
                    </a:moveTo>
                    <a:lnTo>
                      <a:pt x="0" y="442"/>
                    </a:lnTo>
                    <a:lnTo>
                      <a:pt x="62" y="0"/>
                    </a:lnTo>
                    <a:lnTo>
                      <a:pt x="159" y="8"/>
                    </a:lnTo>
                    <a:lnTo>
                      <a:pt x="256" y="17"/>
                    </a:lnTo>
                    <a:lnTo>
                      <a:pt x="361" y="26"/>
                    </a:lnTo>
                    <a:lnTo>
                      <a:pt x="432" y="35"/>
                    </a:lnTo>
                    <a:lnTo>
                      <a:pt x="432" y="79"/>
                    </a:lnTo>
                    <a:lnTo>
                      <a:pt x="432" y="79"/>
                    </a:lnTo>
                    <a:lnTo>
                      <a:pt x="432" y="79"/>
                    </a:lnTo>
                    <a:lnTo>
                      <a:pt x="414" y="274"/>
                    </a:lnTo>
                    <a:lnTo>
                      <a:pt x="414" y="344"/>
                    </a:lnTo>
                    <a:lnTo>
                      <a:pt x="405" y="424"/>
                    </a:lnTo>
                    <a:lnTo>
                      <a:pt x="405" y="433"/>
                    </a:lnTo>
                    <a:lnTo>
                      <a:pt x="396" y="433"/>
                    </a:lnTo>
                    <a:lnTo>
                      <a:pt x="344" y="424"/>
                    </a:lnTo>
                    <a:lnTo>
                      <a:pt x="282" y="424"/>
                    </a:lnTo>
                    <a:lnTo>
                      <a:pt x="220" y="415"/>
                    </a:lnTo>
                    <a:lnTo>
                      <a:pt x="168" y="415"/>
                    </a:lnTo>
                    <a:lnTo>
                      <a:pt x="168" y="415"/>
                    </a:lnTo>
                    <a:lnTo>
                      <a:pt x="168" y="424"/>
                    </a:lnTo>
                    <a:lnTo>
                      <a:pt x="176" y="424"/>
                    </a:lnTo>
                    <a:lnTo>
                      <a:pt x="176" y="433"/>
                    </a:lnTo>
                    <a:lnTo>
                      <a:pt x="176" y="433"/>
                    </a:lnTo>
                    <a:lnTo>
                      <a:pt x="62" y="415"/>
                    </a:lnTo>
                    <a:lnTo>
                      <a:pt x="62" y="424"/>
                    </a:lnTo>
                    <a:lnTo>
                      <a:pt x="62" y="451"/>
                    </a:lnTo>
                    <a:lnTo>
                      <a:pt x="53" y="451"/>
                    </a:lnTo>
                    <a:lnTo>
                      <a:pt x="0" y="451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55" name="Freeform 80"/>
              <p:cNvSpPr>
                <a:spLocks/>
              </p:cNvSpPr>
              <p:nvPr/>
            </p:nvSpPr>
            <p:spPr bwMode="auto">
              <a:xfrm>
                <a:off x="1885679" y="3007139"/>
                <a:ext cx="579585" cy="605076"/>
              </a:xfrm>
              <a:custGeom>
                <a:avLst/>
                <a:gdLst/>
                <a:ahLst/>
                <a:cxnLst>
                  <a:cxn ang="0">
                    <a:pos x="0" y="451"/>
                  </a:cxn>
                  <a:cxn ang="0">
                    <a:pos x="0" y="442"/>
                  </a:cxn>
                  <a:cxn ang="0">
                    <a:pos x="62" y="0"/>
                  </a:cxn>
                  <a:cxn ang="0">
                    <a:pos x="159" y="8"/>
                  </a:cxn>
                  <a:cxn ang="0">
                    <a:pos x="256" y="17"/>
                  </a:cxn>
                  <a:cxn ang="0">
                    <a:pos x="361" y="26"/>
                  </a:cxn>
                  <a:cxn ang="0">
                    <a:pos x="432" y="35"/>
                  </a:cxn>
                  <a:cxn ang="0">
                    <a:pos x="432" y="79"/>
                  </a:cxn>
                  <a:cxn ang="0">
                    <a:pos x="432" y="79"/>
                  </a:cxn>
                  <a:cxn ang="0">
                    <a:pos x="432" y="79"/>
                  </a:cxn>
                  <a:cxn ang="0">
                    <a:pos x="414" y="274"/>
                  </a:cxn>
                  <a:cxn ang="0">
                    <a:pos x="414" y="344"/>
                  </a:cxn>
                  <a:cxn ang="0">
                    <a:pos x="405" y="424"/>
                  </a:cxn>
                  <a:cxn ang="0">
                    <a:pos x="405" y="433"/>
                  </a:cxn>
                  <a:cxn ang="0">
                    <a:pos x="396" y="433"/>
                  </a:cxn>
                  <a:cxn ang="0">
                    <a:pos x="344" y="424"/>
                  </a:cxn>
                  <a:cxn ang="0">
                    <a:pos x="282" y="424"/>
                  </a:cxn>
                  <a:cxn ang="0">
                    <a:pos x="220" y="415"/>
                  </a:cxn>
                  <a:cxn ang="0">
                    <a:pos x="168" y="415"/>
                  </a:cxn>
                  <a:cxn ang="0">
                    <a:pos x="168" y="415"/>
                  </a:cxn>
                  <a:cxn ang="0">
                    <a:pos x="168" y="424"/>
                  </a:cxn>
                  <a:cxn ang="0">
                    <a:pos x="176" y="424"/>
                  </a:cxn>
                  <a:cxn ang="0">
                    <a:pos x="176" y="433"/>
                  </a:cxn>
                  <a:cxn ang="0">
                    <a:pos x="176" y="433"/>
                  </a:cxn>
                  <a:cxn ang="0">
                    <a:pos x="62" y="415"/>
                  </a:cxn>
                  <a:cxn ang="0">
                    <a:pos x="62" y="424"/>
                  </a:cxn>
                  <a:cxn ang="0">
                    <a:pos x="62" y="451"/>
                  </a:cxn>
                  <a:cxn ang="0">
                    <a:pos x="53" y="451"/>
                  </a:cxn>
                  <a:cxn ang="0">
                    <a:pos x="0" y="451"/>
                  </a:cxn>
                </a:cxnLst>
                <a:rect l="0" t="0" r="r" b="b"/>
                <a:pathLst>
                  <a:path w="432" h="451">
                    <a:moveTo>
                      <a:pt x="0" y="451"/>
                    </a:moveTo>
                    <a:lnTo>
                      <a:pt x="0" y="442"/>
                    </a:lnTo>
                    <a:lnTo>
                      <a:pt x="62" y="0"/>
                    </a:lnTo>
                    <a:lnTo>
                      <a:pt x="159" y="8"/>
                    </a:lnTo>
                    <a:lnTo>
                      <a:pt x="256" y="17"/>
                    </a:lnTo>
                    <a:lnTo>
                      <a:pt x="361" y="26"/>
                    </a:lnTo>
                    <a:lnTo>
                      <a:pt x="432" y="35"/>
                    </a:lnTo>
                    <a:lnTo>
                      <a:pt x="432" y="79"/>
                    </a:lnTo>
                    <a:lnTo>
                      <a:pt x="432" y="79"/>
                    </a:lnTo>
                    <a:lnTo>
                      <a:pt x="432" y="79"/>
                    </a:lnTo>
                    <a:lnTo>
                      <a:pt x="414" y="274"/>
                    </a:lnTo>
                    <a:lnTo>
                      <a:pt x="414" y="344"/>
                    </a:lnTo>
                    <a:lnTo>
                      <a:pt x="405" y="424"/>
                    </a:lnTo>
                    <a:lnTo>
                      <a:pt x="405" y="433"/>
                    </a:lnTo>
                    <a:lnTo>
                      <a:pt x="396" y="433"/>
                    </a:lnTo>
                    <a:lnTo>
                      <a:pt x="344" y="424"/>
                    </a:lnTo>
                    <a:lnTo>
                      <a:pt x="282" y="424"/>
                    </a:lnTo>
                    <a:lnTo>
                      <a:pt x="220" y="415"/>
                    </a:lnTo>
                    <a:lnTo>
                      <a:pt x="168" y="415"/>
                    </a:lnTo>
                    <a:lnTo>
                      <a:pt x="168" y="415"/>
                    </a:lnTo>
                    <a:lnTo>
                      <a:pt x="168" y="424"/>
                    </a:lnTo>
                    <a:lnTo>
                      <a:pt x="176" y="424"/>
                    </a:lnTo>
                    <a:lnTo>
                      <a:pt x="176" y="433"/>
                    </a:lnTo>
                    <a:lnTo>
                      <a:pt x="176" y="433"/>
                    </a:lnTo>
                    <a:lnTo>
                      <a:pt x="62" y="415"/>
                    </a:lnTo>
                    <a:lnTo>
                      <a:pt x="62" y="424"/>
                    </a:lnTo>
                    <a:lnTo>
                      <a:pt x="62" y="451"/>
                    </a:lnTo>
                    <a:lnTo>
                      <a:pt x="53" y="451"/>
                    </a:lnTo>
                    <a:lnTo>
                      <a:pt x="0" y="451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56" name="Freeform 83"/>
              <p:cNvSpPr>
                <a:spLocks/>
              </p:cNvSpPr>
              <p:nvPr/>
            </p:nvSpPr>
            <p:spPr bwMode="auto">
              <a:xfrm>
                <a:off x="4684323" y="2402064"/>
                <a:ext cx="118064" cy="248202"/>
              </a:xfrm>
              <a:custGeom>
                <a:avLst/>
                <a:gdLst/>
                <a:ahLst/>
                <a:cxnLst>
                  <a:cxn ang="0">
                    <a:pos x="8" y="141"/>
                  </a:cxn>
                  <a:cxn ang="0">
                    <a:pos x="8" y="132"/>
                  </a:cxn>
                  <a:cxn ang="0">
                    <a:pos x="17" y="123"/>
                  </a:cxn>
                  <a:cxn ang="0">
                    <a:pos x="26" y="115"/>
                  </a:cxn>
                  <a:cxn ang="0">
                    <a:pos x="26" y="106"/>
                  </a:cxn>
                  <a:cxn ang="0">
                    <a:pos x="26" y="106"/>
                  </a:cxn>
                  <a:cxn ang="0">
                    <a:pos x="35" y="97"/>
                  </a:cxn>
                  <a:cxn ang="0">
                    <a:pos x="44" y="88"/>
                  </a:cxn>
                  <a:cxn ang="0">
                    <a:pos x="26" y="79"/>
                  </a:cxn>
                  <a:cxn ang="0">
                    <a:pos x="17" y="70"/>
                  </a:cxn>
                  <a:cxn ang="0">
                    <a:pos x="8" y="62"/>
                  </a:cxn>
                  <a:cxn ang="0">
                    <a:pos x="0" y="53"/>
                  </a:cxn>
                  <a:cxn ang="0">
                    <a:pos x="8" y="44"/>
                  </a:cxn>
                  <a:cxn ang="0">
                    <a:pos x="8" y="35"/>
                  </a:cxn>
                  <a:cxn ang="0">
                    <a:pos x="8" y="26"/>
                  </a:cxn>
                  <a:cxn ang="0">
                    <a:pos x="17" y="9"/>
                  </a:cxn>
                  <a:cxn ang="0">
                    <a:pos x="17" y="0"/>
                  </a:cxn>
                  <a:cxn ang="0">
                    <a:pos x="70" y="17"/>
                  </a:cxn>
                  <a:cxn ang="0">
                    <a:pos x="70" y="35"/>
                  </a:cxn>
                  <a:cxn ang="0">
                    <a:pos x="70" y="44"/>
                  </a:cxn>
                  <a:cxn ang="0">
                    <a:pos x="61" y="44"/>
                  </a:cxn>
                  <a:cxn ang="0">
                    <a:pos x="70" y="62"/>
                  </a:cxn>
                  <a:cxn ang="0">
                    <a:pos x="79" y="62"/>
                  </a:cxn>
                  <a:cxn ang="0">
                    <a:pos x="79" y="88"/>
                  </a:cxn>
                  <a:cxn ang="0">
                    <a:pos x="88" y="106"/>
                  </a:cxn>
                  <a:cxn ang="0">
                    <a:pos x="79" y="97"/>
                  </a:cxn>
                  <a:cxn ang="0">
                    <a:pos x="79" y="88"/>
                  </a:cxn>
                  <a:cxn ang="0">
                    <a:pos x="79" y="97"/>
                  </a:cxn>
                  <a:cxn ang="0">
                    <a:pos x="79" y="106"/>
                  </a:cxn>
                  <a:cxn ang="0">
                    <a:pos x="79" y="115"/>
                  </a:cxn>
                  <a:cxn ang="0">
                    <a:pos x="79" y="132"/>
                  </a:cxn>
                  <a:cxn ang="0">
                    <a:pos x="70" y="132"/>
                  </a:cxn>
                  <a:cxn ang="0">
                    <a:pos x="70" y="150"/>
                  </a:cxn>
                  <a:cxn ang="0">
                    <a:pos x="70" y="150"/>
                  </a:cxn>
                  <a:cxn ang="0">
                    <a:pos x="61" y="159"/>
                  </a:cxn>
                  <a:cxn ang="0">
                    <a:pos x="61" y="168"/>
                  </a:cxn>
                  <a:cxn ang="0">
                    <a:pos x="61" y="177"/>
                  </a:cxn>
                  <a:cxn ang="0">
                    <a:pos x="52" y="185"/>
                  </a:cxn>
                  <a:cxn ang="0">
                    <a:pos x="52" y="185"/>
                  </a:cxn>
                  <a:cxn ang="0">
                    <a:pos x="52" y="168"/>
                  </a:cxn>
                  <a:cxn ang="0">
                    <a:pos x="35" y="177"/>
                  </a:cxn>
                  <a:cxn ang="0">
                    <a:pos x="17" y="168"/>
                  </a:cxn>
                  <a:cxn ang="0">
                    <a:pos x="8" y="150"/>
                  </a:cxn>
                  <a:cxn ang="0">
                    <a:pos x="8" y="150"/>
                  </a:cxn>
                  <a:cxn ang="0">
                    <a:pos x="0" y="141"/>
                  </a:cxn>
                </a:cxnLst>
                <a:rect l="0" t="0" r="r" b="b"/>
                <a:pathLst>
                  <a:path w="88" h="185">
                    <a:moveTo>
                      <a:pt x="0" y="141"/>
                    </a:moveTo>
                    <a:lnTo>
                      <a:pt x="8" y="141"/>
                    </a:lnTo>
                    <a:lnTo>
                      <a:pt x="8" y="132"/>
                    </a:lnTo>
                    <a:lnTo>
                      <a:pt x="8" y="132"/>
                    </a:lnTo>
                    <a:lnTo>
                      <a:pt x="8" y="123"/>
                    </a:lnTo>
                    <a:lnTo>
                      <a:pt x="17" y="123"/>
                    </a:lnTo>
                    <a:lnTo>
                      <a:pt x="17" y="123"/>
                    </a:lnTo>
                    <a:lnTo>
                      <a:pt x="26" y="115"/>
                    </a:lnTo>
                    <a:lnTo>
                      <a:pt x="26" y="115"/>
                    </a:lnTo>
                    <a:lnTo>
                      <a:pt x="26" y="106"/>
                    </a:lnTo>
                    <a:lnTo>
                      <a:pt x="26" y="106"/>
                    </a:lnTo>
                    <a:lnTo>
                      <a:pt x="26" y="106"/>
                    </a:lnTo>
                    <a:lnTo>
                      <a:pt x="26" y="106"/>
                    </a:lnTo>
                    <a:lnTo>
                      <a:pt x="35" y="97"/>
                    </a:lnTo>
                    <a:lnTo>
                      <a:pt x="35" y="97"/>
                    </a:lnTo>
                    <a:lnTo>
                      <a:pt x="44" y="88"/>
                    </a:lnTo>
                    <a:lnTo>
                      <a:pt x="26" y="79"/>
                    </a:lnTo>
                    <a:lnTo>
                      <a:pt x="26" y="79"/>
                    </a:lnTo>
                    <a:lnTo>
                      <a:pt x="17" y="79"/>
                    </a:lnTo>
                    <a:lnTo>
                      <a:pt x="17" y="70"/>
                    </a:lnTo>
                    <a:lnTo>
                      <a:pt x="17" y="70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0" y="53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35"/>
                    </a:lnTo>
                    <a:lnTo>
                      <a:pt x="8" y="35"/>
                    </a:lnTo>
                    <a:lnTo>
                      <a:pt x="0" y="35"/>
                    </a:lnTo>
                    <a:lnTo>
                      <a:pt x="8" y="26"/>
                    </a:lnTo>
                    <a:lnTo>
                      <a:pt x="17" y="17"/>
                    </a:lnTo>
                    <a:lnTo>
                      <a:pt x="17" y="9"/>
                    </a:lnTo>
                    <a:lnTo>
                      <a:pt x="17" y="9"/>
                    </a:lnTo>
                    <a:lnTo>
                      <a:pt x="17" y="0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70" y="26"/>
                    </a:lnTo>
                    <a:lnTo>
                      <a:pt x="70" y="35"/>
                    </a:lnTo>
                    <a:lnTo>
                      <a:pt x="70" y="35"/>
                    </a:lnTo>
                    <a:lnTo>
                      <a:pt x="70" y="44"/>
                    </a:lnTo>
                    <a:lnTo>
                      <a:pt x="61" y="44"/>
                    </a:lnTo>
                    <a:lnTo>
                      <a:pt x="61" y="44"/>
                    </a:lnTo>
                    <a:lnTo>
                      <a:pt x="61" y="62"/>
                    </a:lnTo>
                    <a:lnTo>
                      <a:pt x="70" y="62"/>
                    </a:lnTo>
                    <a:lnTo>
                      <a:pt x="70" y="62"/>
                    </a:lnTo>
                    <a:lnTo>
                      <a:pt x="79" y="62"/>
                    </a:lnTo>
                    <a:lnTo>
                      <a:pt x="79" y="70"/>
                    </a:lnTo>
                    <a:lnTo>
                      <a:pt x="79" y="88"/>
                    </a:lnTo>
                    <a:lnTo>
                      <a:pt x="88" y="88"/>
                    </a:lnTo>
                    <a:lnTo>
                      <a:pt x="88" y="106"/>
                    </a:lnTo>
                    <a:lnTo>
                      <a:pt x="88" y="106"/>
                    </a:lnTo>
                    <a:lnTo>
                      <a:pt x="79" y="97"/>
                    </a:lnTo>
                    <a:lnTo>
                      <a:pt x="88" y="97"/>
                    </a:lnTo>
                    <a:lnTo>
                      <a:pt x="79" y="88"/>
                    </a:lnTo>
                    <a:lnTo>
                      <a:pt x="79" y="97"/>
                    </a:lnTo>
                    <a:lnTo>
                      <a:pt x="79" y="97"/>
                    </a:lnTo>
                    <a:lnTo>
                      <a:pt x="79" y="97"/>
                    </a:lnTo>
                    <a:lnTo>
                      <a:pt x="79" y="106"/>
                    </a:lnTo>
                    <a:lnTo>
                      <a:pt x="79" y="115"/>
                    </a:lnTo>
                    <a:lnTo>
                      <a:pt x="79" y="115"/>
                    </a:lnTo>
                    <a:lnTo>
                      <a:pt x="79" y="123"/>
                    </a:lnTo>
                    <a:lnTo>
                      <a:pt x="79" y="132"/>
                    </a:lnTo>
                    <a:lnTo>
                      <a:pt x="79" y="132"/>
                    </a:lnTo>
                    <a:lnTo>
                      <a:pt x="70" y="132"/>
                    </a:lnTo>
                    <a:lnTo>
                      <a:pt x="70" y="141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61" y="159"/>
                    </a:lnTo>
                    <a:lnTo>
                      <a:pt x="61" y="159"/>
                    </a:lnTo>
                    <a:lnTo>
                      <a:pt x="61" y="159"/>
                    </a:lnTo>
                    <a:lnTo>
                      <a:pt x="61" y="168"/>
                    </a:lnTo>
                    <a:lnTo>
                      <a:pt x="61" y="177"/>
                    </a:lnTo>
                    <a:lnTo>
                      <a:pt x="61" y="177"/>
                    </a:lnTo>
                    <a:lnTo>
                      <a:pt x="52" y="185"/>
                    </a:lnTo>
                    <a:lnTo>
                      <a:pt x="52" y="185"/>
                    </a:lnTo>
                    <a:lnTo>
                      <a:pt x="52" y="185"/>
                    </a:lnTo>
                    <a:lnTo>
                      <a:pt x="52" y="185"/>
                    </a:lnTo>
                    <a:lnTo>
                      <a:pt x="52" y="177"/>
                    </a:lnTo>
                    <a:lnTo>
                      <a:pt x="52" y="168"/>
                    </a:lnTo>
                    <a:lnTo>
                      <a:pt x="35" y="168"/>
                    </a:lnTo>
                    <a:lnTo>
                      <a:pt x="35" y="177"/>
                    </a:lnTo>
                    <a:lnTo>
                      <a:pt x="26" y="168"/>
                    </a:lnTo>
                    <a:lnTo>
                      <a:pt x="17" y="168"/>
                    </a:lnTo>
                    <a:lnTo>
                      <a:pt x="17" y="159"/>
                    </a:lnTo>
                    <a:lnTo>
                      <a:pt x="8" y="150"/>
                    </a:lnTo>
                    <a:lnTo>
                      <a:pt x="8" y="150"/>
                    </a:lnTo>
                    <a:lnTo>
                      <a:pt x="8" y="150"/>
                    </a:lnTo>
                    <a:lnTo>
                      <a:pt x="0" y="150"/>
                    </a:lnTo>
                    <a:lnTo>
                      <a:pt x="0" y="141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57" name="Freeform 85"/>
              <p:cNvSpPr>
                <a:spLocks/>
              </p:cNvSpPr>
              <p:nvPr/>
            </p:nvSpPr>
            <p:spPr bwMode="auto">
              <a:xfrm>
                <a:off x="4825194" y="1927126"/>
                <a:ext cx="142213" cy="284426"/>
              </a:xfrm>
              <a:custGeom>
                <a:avLst/>
                <a:gdLst/>
                <a:ahLst/>
                <a:cxnLst>
                  <a:cxn ang="0">
                    <a:pos x="18" y="212"/>
                  </a:cxn>
                  <a:cxn ang="0">
                    <a:pos x="9" y="212"/>
                  </a:cxn>
                  <a:cxn ang="0">
                    <a:pos x="9" y="203"/>
                  </a:cxn>
                  <a:cxn ang="0">
                    <a:pos x="9" y="195"/>
                  </a:cxn>
                  <a:cxn ang="0">
                    <a:pos x="9" y="195"/>
                  </a:cxn>
                  <a:cxn ang="0">
                    <a:pos x="9" y="177"/>
                  </a:cxn>
                  <a:cxn ang="0">
                    <a:pos x="9" y="168"/>
                  </a:cxn>
                  <a:cxn ang="0">
                    <a:pos x="0" y="150"/>
                  </a:cxn>
                  <a:cxn ang="0">
                    <a:pos x="9" y="141"/>
                  </a:cxn>
                  <a:cxn ang="0">
                    <a:pos x="0" y="141"/>
                  </a:cxn>
                  <a:cxn ang="0">
                    <a:pos x="9" y="133"/>
                  </a:cxn>
                  <a:cxn ang="0">
                    <a:pos x="9" y="124"/>
                  </a:cxn>
                  <a:cxn ang="0">
                    <a:pos x="9" y="124"/>
                  </a:cxn>
                  <a:cxn ang="0">
                    <a:pos x="9" y="115"/>
                  </a:cxn>
                  <a:cxn ang="0">
                    <a:pos x="9" y="115"/>
                  </a:cxn>
                  <a:cxn ang="0">
                    <a:pos x="9" y="106"/>
                  </a:cxn>
                  <a:cxn ang="0">
                    <a:pos x="9" y="97"/>
                  </a:cxn>
                  <a:cxn ang="0">
                    <a:pos x="9" y="88"/>
                  </a:cxn>
                  <a:cxn ang="0">
                    <a:pos x="9" y="80"/>
                  </a:cxn>
                  <a:cxn ang="0">
                    <a:pos x="18" y="80"/>
                  </a:cxn>
                  <a:cxn ang="0">
                    <a:pos x="27" y="71"/>
                  </a:cxn>
                  <a:cxn ang="0">
                    <a:pos x="27" y="62"/>
                  </a:cxn>
                  <a:cxn ang="0">
                    <a:pos x="27" y="62"/>
                  </a:cxn>
                  <a:cxn ang="0">
                    <a:pos x="27" y="53"/>
                  </a:cxn>
                  <a:cxn ang="0">
                    <a:pos x="18" y="53"/>
                  </a:cxn>
                  <a:cxn ang="0">
                    <a:pos x="18" y="44"/>
                  </a:cxn>
                  <a:cxn ang="0">
                    <a:pos x="27" y="35"/>
                  </a:cxn>
                  <a:cxn ang="0">
                    <a:pos x="18" y="27"/>
                  </a:cxn>
                  <a:cxn ang="0">
                    <a:pos x="18" y="27"/>
                  </a:cxn>
                  <a:cxn ang="0">
                    <a:pos x="18" y="27"/>
                  </a:cxn>
                  <a:cxn ang="0">
                    <a:pos x="18" y="18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27" y="0"/>
                  </a:cxn>
                  <a:cxn ang="0">
                    <a:pos x="35" y="0"/>
                  </a:cxn>
                  <a:cxn ang="0">
                    <a:pos x="35" y="0"/>
                  </a:cxn>
                  <a:cxn ang="0">
                    <a:pos x="35" y="0"/>
                  </a:cxn>
                  <a:cxn ang="0">
                    <a:pos x="79" y="115"/>
                  </a:cxn>
                  <a:cxn ang="0">
                    <a:pos x="79" y="133"/>
                  </a:cxn>
                  <a:cxn ang="0">
                    <a:pos x="79" y="133"/>
                  </a:cxn>
                  <a:cxn ang="0">
                    <a:pos x="79" y="141"/>
                  </a:cxn>
                  <a:cxn ang="0">
                    <a:pos x="88" y="141"/>
                  </a:cxn>
                  <a:cxn ang="0">
                    <a:pos x="88" y="150"/>
                  </a:cxn>
                  <a:cxn ang="0">
                    <a:pos x="97" y="150"/>
                  </a:cxn>
                  <a:cxn ang="0">
                    <a:pos x="97" y="159"/>
                  </a:cxn>
                  <a:cxn ang="0">
                    <a:pos x="106" y="159"/>
                  </a:cxn>
                  <a:cxn ang="0">
                    <a:pos x="106" y="159"/>
                  </a:cxn>
                  <a:cxn ang="0">
                    <a:pos x="106" y="159"/>
                  </a:cxn>
                  <a:cxn ang="0">
                    <a:pos x="106" y="177"/>
                  </a:cxn>
                  <a:cxn ang="0">
                    <a:pos x="106" y="177"/>
                  </a:cxn>
                  <a:cxn ang="0">
                    <a:pos x="106" y="177"/>
                  </a:cxn>
                  <a:cxn ang="0">
                    <a:pos x="97" y="177"/>
                  </a:cxn>
                  <a:cxn ang="0">
                    <a:pos x="97" y="186"/>
                  </a:cxn>
                  <a:cxn ang="0">
                    <a:pos x="88" y="186"/>
                  </a:cxn>
                  <a:cxn ang="0">
                    <a:pos x="88" y="186"/>
                  </a:cxn>
                  <a:cxn ang="0">
                    <a:pos x="88" y="195"/>
                  </a:cxn>
                  <a:cxn ang="0">
                    <a:pos x="79" y="203"/>
                  </a:cxn>
                  <a:cxn ang="0">
                    <a:pos x="18" y="212"/>
                  </a:cxn>
                </a:cxnLst>
                <a:rect l="0" t="0" r="r" b="b"/>
                <a:pathLst>
                  <a:path w="106" h="212">
                    <a:moveTo>
                      <a:pt x="18" y="212"/>
                    </a:moveTo>
                    <a:lnTo>
                      <a:pt x="9" y="212"/>
                    </a:lnTo>
                    <a:lnTo>
                      <a:pt x="9" y="203"/>
                    </a:lnTo>
                    <a:lnTo>
                      <a:pt x="9" y="195"/>
                    </a:lnTo>
                    <a:lnTo>
                      <a:pt x="9" y="195"/>
                    </a:lnTo>
                    <a:lnTo>
                      <a:pt x="9" y="177"/>
                    </a:lnTo>
                    <a:lnTo>
                      <a:pt x="9" y="168"/>
                    </a:lnTo>
                    <a:lnTo>
                      <a:pt x="0" y="150"/>
                    </a:lnTo>
                    <a:lnTo>
                      <a:pt x="9" y="141"/>
                    </a:lnTo>
                    <a:lnTo>
                      <a:pt x="0" y="141"/>
                    </a:lnTo>
                    <a:lnTo>
                      <a:pt x="9" y="133"/>
                    </a:lnTo>
                    <a:lnTo>
                      <a:pt x="9" y="124"/>
                    </a:lnTo>
                    <a:lnTo>
                      <a:pt x="9" y="124"/>
                    </a:lnTo>
                    <a:lnTo>
                      <a:pt x="9" y="115"/>
                    </a:lnTo>
                    <a:lnTo>
                      <a:pt x="9" y="115"/>
                    </a:lnTo>
                    <a:lnTo>
                      <a:pt x="9" y="106"/>
                    </a:lnTo>
                    <a:lnTo>
                      <a:pt x="9" y="97"/>
                    </a:lnTo>
                    <a:lnTo>
                      <a:pt x="9" y="88"/>
                    </a:lnTo>
                    <a:lnTo>
                      <a:pt x="9" y="80"/>
                    </a:lnTo>
                    <a:lnTo>
                      <a:pt x="18" y="80"/>
                    </a:lnTo>
                    <a:lnTo>
                      <a:pt x="27" y="71"/>
                    </a:lnTo>
                    <a:lnTo>
                      <a:pt x="27" y="62"/>
                    </a:lnTo>
                    <a:lnTo>
                      <a:pt x="27" y="62"/>
                    </a:lnTo>
                    <a:lnTo>
                      <a:pt x="27" y="53"/>
                    </a:lnTo>
                    <a:lnTo>
                      <a:pt x="18" y="53"/>
                    </a:lnTo>
                    <a:lnTo>
                      <a:pt x="18" y="44"/>
                    </a:lnTo>
                    <a:lnTo>
                      <a:pt x="27" y="35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27"/>
                    </a:lnTo>
                    <a:lnTo>
                      <a:pt x="18" y="18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27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35" y="0"/>
                    </a:lnTo>
                    <a:lnTo>
                      <a:pt x="79" y="115"/>
                    </a:lnTo>
                    <a:lnTo>
                      <a:pt x="79" y="133"/>
                    </a:lnTo>
                    <a:lnTo>
                      <a:pt x="79" y="133"/>
                    </a:lnTo>
                    <a:lnTo>
                      <a:pt x="79" y="141"/>
                    </a:lnTo>
                    <a:lnTo>
                      <a:pt x="88" y="141"/>
                    </a:lnTo>
                    <a:lnTo>
                      <a:pt x="88" y="150"/>
                    </a:lnTo>
                    <a:lnTo>
                      <a:pt x="97" y="150"/>
                    </a:lnTo>
                    <a:lnTo>
                      <a:pt x="97" y="159"/>
                    </a:lnTo>
                    <a:lnTo>
                      <a:pt x="106" y="159"/>
                    </a:lnTo>
                    <a:lnTo>
                      <a:pt x="106" y="159"/>
                    </a:lnTo>
                    <a:lnTo>
                      <a:pt x="106" y="159"/>
                    </a:lnTo>
                    <a:lnTo>
                      <a:pt x="106" y="177"/>
                    </a:lnTo>
                    <a:lnTo>
                      <a:pt x="106" y="177"/>
                    </a:lnTo>
                    <a:lnTo>
                      <a:pt x="106" y="177"/>
                    </a:lnTo>
                    <a:lnTo>
                      <a:pt x="97" y="177"/>
                    </a:lnTo>
                    <a:lnTo>
                      <a:pt x="97" y="186"/>
                    </a:lnTo>
                    <a:lnTo>
                      <a:pt x="88" y="186"/>
                    </a:lnTo>
                    <a:lnTo>
                      <a:pt x="88" y="186"/>
                    </a:lnTo>
                    <a:lnTo>
                      <a:pt x="88" y="195"/>
                    </a:lnTo>
                    <a:lnTo>
                      <a:pt x="79" y="203"/>
                    </a:lnTo>
                    <a:lnTo>
                      <a:pt x="18" y="212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58" name="Freeform 87"/>
              <p:cNvSpPr>
                <a:spLocks/>
              </p:cNvSpPr>
              <p:nvPr/>
            </p:nvSpPr>
            <p:spPr bwMode="auto">
              <a:xfrm>
                <a:off x="1119607" y="2318883"/>
                <a:ext cx="529945" cy="830470"/>
              </a:xfrm>
              <a:custGeom>
                <a:avLst/>
                <a:gdLst/>
                <a:ahLst/>
                <a:cxnLst>
                  <a:cxn ang="0">
                    <a:pos x="8" y="177"/>
                  </a:cxn>
                  <a:cxn ang="0">
                    <a:pos x="52" y="0"/>
                  </a:cxn>
                  <a:cxn ang="0">
                    <a:pos x="149" y="26"/>
                  </a:cxn>
                  <a:cxn ang="0">
                    <a:pos x="220" y="44"/>
                  </a:cxn>
                  <a:cxn ang="0">
                    <a:pos x="316" y="62"/>
                  </a:cxn>
                  <a:cxn ang="0">
                    <a:pos x="395" y="71"/>
                  </a:cxn>
                  <a:cxn ang="0">
                    <a:pos x="325" y="468"/>
                  </a:cxn>
                  <a:cxn ang="0">
                    <a:pos x="316" y="530"/>
                  </a:cxn>
                  <a:cxn ang="0">
                    <a:pos x="307" y="530"/>
                  </a:cxn>
                  <a:cxn ang="0">
                    <a:pos x="299" y="539"/>
                  </a:cxn>
                  <a:cxn ang="0">
                    <a:pos x="299" y="539"/>
                  </a:cxn>
                  <a:cxn ang="0">
                    <a:pos x="290" y="530"/>
                  </a:cxn>
                  <a:cxn ang="0">
                    <a:pos x="290" y="530"/>
                  </a:cxn>
                  <a:cxn ang="0">
                    <a:pos x="281" y="530"/>
                  </a:cxn>
                  <a:cxn ang="0">
                    <a:pos x="281" y="521"/>
                  </a:cxn>
                  <a:cxn ang="0">
                    <a:pos x="272" y="530"/>
                  </a:cxn>
                  <a:cxn ang="0">
                    <a:pos x="272" y="530"/>
                  </a:cxn>
                  <a:cxn ang="0">
                    <a:pos x="264" y="539"/>
                  </a:cxn>
                  <a:cxn ang="0">
                    <a:pos x="272" y="548"/>
                  </a:cxn>
                  <a:cxn ang="0">
                    <a:pos x="264" y="548"/>
                  </a:cxn>
                  <a:cxn ang="0">
                    <a:pos x="264" y="557"/>
                  </a:cxn>
                  <a:cxn ang="0">
                    <a:pos x="264" y="566"/>
                  </a:cxn>
                  <a:cxn ang="0">
                    <a:pos x="264" y="575"/>
                  </a:cxn>
                  <a:cxn ang="0">
                    <a:pos x="264" y="583"/>
                  </a:cxn>
                  <a:cxn ang="0">
                    <a:pos x="264" y="592"/>
                  </a:cxn>
                  <a:cxn ang="0">
                    <a:pos x="264" y="601"/>
                  </a:cxn>
                  <a:cxn ang="0">
                    <a:pos x="264" y="601"/>
                  </a:cxn>
                  <a:cxn ang="0">
                    <a:pos x="255" y="619"/>
                  </a:cxn>
                  <a:cxn ang="0">
                    <a:pos x="184" y="504"/>
                  </a:cxn>
                  <a:cxn ang="0">
                    <a:pos x="0" y="230"/>
                  </a:cxn>
                  <a:cxn ang="0">
                    <a:pos x="8" y="177"/>
                  </a:cxn>
                </a:cxnLst>
                <a:rect l="0" t="0" r="r" b="b"/>
                <a:pathLst>
                  <a:path w="395" h="619">
                    <a:moveTo>
                      <a:pt x="8" y="177"/>
                    </a:moveTo>
                    <a:lnTo>
                      <a:pt x="52" y="0"/>
                    </a:lnTo>
                    <a:lnTo>
                      <a:pt x="149" y="26"/>
                    </a:lnTo>
                    <a:lnTo>
                      <a:pt x="220" y="44"/>
                    </a:lnTo>
                    <a:lnTo>
                      <a:pt x="316" y="62"/>
                    </a:lnTo>
                    <a:lnTo>
                      <a:pt x="395" y="71"/>
                    </a:lnTo>
                    <a:lnTo>
                      <a:pt x="325" y="468"/>
                    </a:lnTo>
                    <a:lnTo>
                      <a:pt x="316" y="530"/>
                    </a:lnTo>
                    <a:lnTo>
                      <a:pt x="307" y="530"/>
                    </a:lnTo>
                    <a:lnTo>
                      <a:pt x="299" y="539"/>
                    </a:lnTo>
                    <a:lnTo>
                      <a:pt x="299" y="539"/>
                    </a:lnTo>
                    <a:lnTo>
                      <a:pt x="290" y="530"/>
                    </a:lnTo>
                    <a:lnTo>
                      <a:pt x="290" y="530"/>
                    </a:lnTo>
                    <a:lnTo>
                      <a:pt x="281" y="530"/>
                    </a:lnTo>
                    <a:lnTo>
                      <a:pt x="281" y="521"/>
                    </a:lnTo>
                    <a:lnTo>
                      <a:pt x="272" y="530"/>
                    </a:lnTo>
                    <a:lnTo>
                      <a:pt x="272" y="530"/>
                    </a:lnTo>
                    <a:lnTo>
                      <a:pt x="264" y="539"/>
                    </a:lnTo>
                    <a:lnTo>
                      <a:pt x="272" y="548"/>
                    </a:lnTo>
                    <a:lnTo>
                      <a:pt x="264" y="548"/>
                    </a:lnTo>
                    <a:lnTo>
                      <a:pt x="264" y="557"/>
                    </a:lnTo>
                    <a:lnTo>
                      <a:pt x="264" y="566"/>
                    </a:lnTo>
                    <a:lnTo>
                      <a:pt x="264" y="575"/>
                    </a:lnTo>
                    <a:lnTo>
                      <a:pt x="264" y="583"/>
                    </a:lnTo>
                    <a:lnTo>
                      <a:pt x="264" y="592"/>
                    </a:lnTo>
                    <a:lnTo>
                      <a:pt x="264" y="601"/>
                    </a:lnTo>
                    <a:lnTo>
                      <a:pt x="264" y="601"/>
                    </a:lnTo>
                    <a:lnTo>
                      <a:pt x="255" y="619"/>
                    </a:lnTo>
                    <a:lnTo>
                      <a:pt x="184" y="504"/>
                    </a:lnTo>
                    <a:lnTo>
                      <a:pt x="0" y="230"/>
                    </a:lnTo>
                    <a:lnTo>
                      <a:pt x="8" y="177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59" name="Freeform 88"/>
              <p:cNvSpPr>
                <a:spLocks/>
              </p:cNvSpPr>
              <p:nvPr/>
            </p:nvSpPr>
            <p:spPr bwMode="auto">
              <a:xfrm>
                <a:off x="1119607" y="2318883"/>
                <a:ext cx="529945" cy="830470"/>
              </a:xfrm>
              <a:custGeom>
                <a:avLst/>
                <a:gdLst/>
                <a:ahLst/>
                <a:cxnLst>
                  <a:cxn ang="0">
                    <a:pos x="8" y="177"/>
                  </a:cxn>
                  <a:cxn ang="0">
                    <a:pos x="52" y="0"/>
                  </a:cxn>
                  <a:cxn ang="0">
                    <a:pos x="149" y="26"/>
                  </a:cxn>
                  <a:cxn ang="0">
                    <a:pos x="220" y="44"/>
                  </a:cxn>
                  <a:cxn ang="0">
                    <a:pos x="316" y="62"/>
                  </a:cxn>
                  <a:cxn ang="0">
                    <a:pos x="395" y="71"/>
                  </a:cxn>
                  <a:cxn ang="0">
                    <a:pos x="325" y="468"/>
                  </a:cxn>
                  <a:cxn ang="0">
                    <a:pos x="316" y="530"/>
                  </a:cxn>
                  <a:cxn ang="0">
                    <a:pos x="307" y="530"/>
                  </a:cxn>
                  <a:cxn ang="0">
                    <a:pos x="299" y="539"/>
                  </a:cxn>
                  <a:cxn ang="0">
                    <a:pos x="299" y="539"/>
                  </a:cxn>
                  <a:cxn ang="0">
                    <a:pos x="290" y="530"/>
                  </a:cxn>
                  <a:cxn ang="0">
                    <a:pos x="290" y="530"/>
                  </a:cxn>
                  <a:cxn ang="0">
                    <a:pos x="281" y="530"/>
                  </a:cxn>
                  <a:cxn ang="0">
                    <a:pos x="281" y="521"/>
                  </a:cxn>
                  <a:cxn ang="0">
                    <a:pos x="272" y="530"/>
                  </a:cxn>
                  <a:cxn ang="0">
                    <a:pos x="272" y="530"/>
                  </a:cxn>
                  <a:cxn ang="0">
                    <a:pos x="264" y="539"/>
                  </a:cxn>
                  <a:cxn ang="0">
                    <a:pos x="272" y="548"/>
                  </a:cxn>
                  <a:cxn ang="0">
                    <a:pos x="264" y="548"/>
                  </a:cxn>
                  <a:cxn ang="0">
                    <a:pos x="264" y="557"/>
                  </a:cxn>
                  <a:cxn ang="0">
                    <a:pos x="264" y="566"/>
                  </a:cxn>
                  <a:cxn ang="0">
                    <a:pos x="264" y="575"/>
                  </a:cxn>
                  <a:cxn ang="0">
                    <a:pos x="264" y="583"/>
                  </a:cxn>
                  <a:cxn ang="0">
                    <a:pos x="264" y="592"/>
                  </a:cxn>
                  <a:cxn ang="0">
                    <a:pos x="264" y="601"/>
                  </a:cxn>
                  <a:cxn ang="0">
                    <a:pos x="264" y="601"/>
                  </a:cxn>
                  <a:cxn ang="0">
                    <a:pos x="255" y="619"/>
                  </a:cxn>
                  <a:cxn ang="0">
                    <a:pos x="184" y="504"/>
                  </a:cxn>
                  <a:cxn ang="0">
                    <a:pos x="0" y="230"/>
                  </a:cxn>
                  <a:cxn ang="0">
                    <a:pos x="8" y="177"/>
                  </a:cxn>
                </a:cxnLst>
                <a:rect l="0" t="0" r="r" b="b"/>
                <a:pathLst>
                  <a:path w="395" h="619">
                    <a:moveTo>
                      <a:pt x="8" y="177"/>
                    </a:moveTo>
                    <a:lnTo>
                      <a:pt x="52" y="0"/>
                    </a:lnTo>
                    <a:lnTo>
                      <a:pt x="149" y="26"/>
                    </a:lnTo>
                    <a:lnTo>
                      <a:pt x="220" y="44"/>
                    </a:lnTo>
                    <a:lnTo>
                      <a:pt x="316" y="62"/>
                    </a:lnTo>
                    <a:lnTo>
                      <a:pt x="395" y="71"/>
                    </a:lnTo>
                    <a:lnTo>
                      <a:pt x="325" y="468"/>
                    </a:lnTo>
                    <a:lnTo>
                      <a:pt x="316" y="530"/>
                    </a:lnTo>
                    <a:lnTo>
                      <a:pt x="307" y="530"/>
                    </a:lnTo>
                    <a:lnTo>
                      <a:pt x="299" y="539"/>
                    </a:lnTo>
                    <a:lnTo>
                      <a:pt x="299" y="539"/>
                    </a:lnTo>
                    <a:lnTo>
                      <a:pt x="290" y="530"/>
                    </a:lnTo>
                    <a:lnTo>
                      <a:pt x="290" y="530"/>
                    </a:lnTo>
                    <a:lnTo>
                      <a:pt x="281" y="530"/>
                    </a:lnTo>
                    <a:lnTo>
                      <a:pt x="281" y="521"/>
                    </a:lnTo>
                    <a:lnTo>
                      <a:pt x="272" y="530"/>
                    </a:lnTo>
                    <a:lnTo>
                      <a:pt x="272" y="530"/>
                    </a:lnTo>
                    <a:lnTo>
                      <a:pt x="264" y="539"/>
                    </a:lnTo>
                    <a:lnTo>
                      <a:pt x="272" y="548"/>
                    </a:lnTo>
                    <a:lnTo>
                      <a:pt x="264" y="548"/>
                    </a:lnTo>
                    <a:lnTo>
                      <a:pt x="264" y="557"/>
                    </a:lnTo>
                    <a:lnTo>
                      <a:pt x="264" y="566"/>
                    </a:lnTo>
                    <a:lnTo>
                      <a:pt x="264" y="575"/>
                    </a:lnTo>
                    <a:lnTo>
                      <a:pt x="264" y="583"/>
                    </a:lnTo>
                    <a:lnTo>
                      <a:pt x="264" y="592"/>
                    </a:lnTo>
                    <a:lnTo>
                      <a:pt x="264" y="601"/>
                    </a:lnTo>
                    <a:lnTo>
                      <a:pt x="264" y="601"/>
                    </a:lnTo>
                    <a:lnTo>
                      <a:pt x="255" y="619"/>
                    </a:lnTo>
                    <a:lnTo>
                      <a:pt x="184" y="504"/>
                    </a:lnTo>
                    <a:lnTo>
                      <a:pt x="0" y="230"/>
                    </a:lnTo>
                    <a:lnTo>
                      <a:pt x="8" y="177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60" name="Freeform 89"/>
              <p:cNvSpPr>
                <a:spLocks/>
              </p:cNvSpPr>
              <p:nvPr/>
            </p:nvSpPr>
            <p:spPr bwMode="auto">
              <a:xfrm>
                <a:off x="2416966" y="2414138"/>
                <a:ext cx="685574" cy="331383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68" y="8"/>
                  </a:cxn>
                  <a:cxn ang="0">
                    <a:pos x="326" y="8"/>
                  </a:cxn>
                  <a:cxn ang="0">
                    <a:pos x="352" y="26"/>
                  </a:cxn>
                  <a:cxn ang="0">
                    <a:pos x="361" y="17"/>
                  </a:cxn>
                  <a:cxn ang="0">
                    <a:pos x="396" y="17"/>
                  </a:cxn>
                  <a:cxn ang="0">
                    <a:pos x="414" y="26"/>
                  </a:cxn>
                  <a:cxn ang="0">
                    <a:pos x="414" y="35"/>
                  </a:cxn>
                  <a:cxn ang="0">
                    <a:pos x="423" y="35"/>
                  </a:cxn>
                  <a:cxn ang="0">
                    <a:pos x="431" y="44"/>
                  </a:cxn>
                  <a:cxn ang="0">
                    <a:pos x="440" y="53"/>
                  </a:cxn>
                  <a:cxn ang="0">
                    <a:pos x="449" y="53"/>
                  </a:cxn>
                  <a:cxn ang="0">
                    <a:pos x="449" y="61"/>
                  </a:cxn>
                  <a:cxn ang="0">
                    <a:pos x="449" y="70"/>
                  </a:cxn>
                  <a:cxn ang="0">
                    <a:pos x="458" y="88"/>
                  </a:cxn>
                  <a:cxn ang="0">
                    <a:pos x="467" y="97"/>
                  </a:cxn>
                  <a:cxn ang="0">
                    <a:pos x="467" y="106"/>
                  </a:cxn>
                  <a:cxn ang="0">
                    <a:pos x="467" y="114"/>
                  </a:cxn>
                  <a:cxn ang="0">
                    <a:pos x="467" y="123"/>
                  </a:cxn>
                  <a:cxn ang="0">
                    <a:pos x="475" y="132"/>
                  </a:cxn>
                  <a:cxn ang="0">
                    <a:pos x="475" y="141"/>
                  </a:cxn>
                  <a:cxn ang="0">
                    <a:pos x="475" y="150"/>
                  </a:cxn>
                  <a:cxn ang="0">
                    <a:pos x="475" y="159"/>
                  </a:cxn>
                  <a:cxn ang="0">
                    <a:pos x="484" y="176"/>
                  </a:cxn>
                  <a:cxn ang="0">
                    <a:pos x="484" y="194"/>
                  </a:cxn>
                  <a:cxn ang="0">
                    <a:pos x="484" y="203"/>
                  </a:cxn>
                  <a:cxn ang="0">
                    <a:pos x="493" y="221"/>
                  </a:cxn>
                  <a:cxn ang="0">
                    <a:pos x="502" y="229"/>
                  </a:cxn>
                  <a:cxn ang="0">
                    <a:pos x="511" y="238"/>
                  </a:cxn>
                  <a:cxn ang="0">
                    <a:pos x="511" y="247"/>
                  </a:cxn>
                  <a:cxn ang="0">
                    <a:pos x="335" y="247"/>
                  </a:cxn>
                  <a:cxn ang="0">
                    <a:pos x="115" y="238"/>
                  </a:cxn>
                  <a:cxn ang="0">
                    <a:pos x="115" y="159"/>
                  </a:cxn>
                  <a:cxn ang="0">
                    <a:pos x="0" y="159"/>
                  </a:cxn>
                </a:cxnLst>
                <a:rect l="0" t="0" r="r" b="b"/>
                <a:pathLst>
                  <a:path w="511" h="247">
                    <a:moveTo>
                      <a:pt x="0" y="159"/>
                    </a:moveTo>
                    <a:lnTo>
                      <a:pt x="9" y="0"/>
                    </a:lnTo>
                    <a:lnTo>
                      <a:pt x="71" y="0"/>
                    </a:lnTo>
                    <a:lnTo>
                      <a:pt x="168" y="8"/>
                    </a:lnTo>
                    <a:lnTo>
                      <a:pt x="264" y="8"/>
                    </a:lnTo>
                    <a:lnTo>
                      <a:pt x="326" y="8"/>
                    </a:lnTo>
                    <a:lnTo>
                      <a:pt x="335" y="17"/>
                    </a:lnTo>
                    <a:lnTo>
                      <a:pt x="352" y="26"/>
                    </a:lnTo>
                    <a:lnTo>
                      <a:pt x="361" y="26"/>
                    </a:lnTo>
                    <a:lnTo>
                      <a:pt x="361" y="17"/>
                    </a:lnTo>
                    <a:lnTo>
                      <a:pt x="370" y="26"/>
                    </a:lnTo>
                    <a:lnTo>
                      <a:pt x="396" y="17"/>
                    </a:lnTo>
                    <a:lnTo>
                      <a:pt x="405" y="26"/>
                    </a:lnTo>
                    <a:lnTo>
                      <a:pt x="414" y="26"/>
                    </a:lnTo>
                    <a:lnTo>
                      <a:pt x="414" y="26"/>
                    </a:lnTo>
                    <a:lnTo>
                      <a:pt x="414" y="35"/>
                    </a:lnTo>
                    <a:lnTo>
                      <a:pt x="423" y="35"/>
                    </a:lnTo>
                    <a:lnTo>
                      <a:pt x="423" y="35"/>
                    </a:lnTo>
                    <a:lnTo>
                      <a:pt x="431" y="35"/>
                    </a:lnTo>
                    <a:lnTo>
                      <a:pt x="431" y="44"/>
                    </a:lnTo>
                    <a:lnTo>
                      <a:pt x="440" y="44"/>
                    </a:lnTo>
                    <a:lnTo>
                      <a:pt x="440" y="53"/>
                    </a:lnTo>
                    <a:lnTo>
                      <a:pt x="449" y="53"/>
                    </a:lnTo>
                    <a:lnTo>
                      <a:pt x="449" y="53"/>
                    </a:lnTo>
                    <a:lnTo>
                      <a:pt x="449" y="61"/>
                    </a:lnTo>
                    <a:lnTo>
                      <a:pt x="449" y="61"/>
                    </a:lnTo>
                    <a:lnTo>
                      <a:pt x="449" y="70"/>
                    </a:lnTo>
                    <a:lnTo>
                      <a:pt x="449" y="70"/>
                    </a:lnTo>
                    <a:lnTo>
                      <a:pt x="458" y="79"/>
                    </a:lnTo>
                    <a:lnTo>
                      <a:pt x="458" y="88"/>
                    </a:lnTo>
                    <a:lnTo>
                      <a:pt x="467" y="97"/>
                    </a:lnTo>
                    <a:lnTo>
                      <a:pt x="467" y="97"/>
                    </a:lnTo>
                    <a:lnTo>
                      <a:pt x="467" y="106"/>
                    </a:lnTo>
                    <a:lnTo>
                      <a:pt x="467" y="106"/>
                    </a:lnTo>
                    <a:lnTo>
                      <a:pt x="467" y="114"/>
                    </a:lnTo>
                    <a:lnTo>
                      <a:pt x="467" y="114"/>
                    </a:lnTo>
                    <a:lnTo>
                      <a:pt x="467" y="123"/>
                    </a:lnTo>
                    <a:lnTo>
                      <a:pt x="467" y="123"/>
                    </a:lnTo>
                    <a:lnTo>
                      <a:pt x="475" y="123"/>
                    </a:lnTo>
                    <a:lnTo>
                      <a:pt x="475" y="132"/>
                    </a:lnTo>
                    <a:lnTo>
                      <a:pt x="475" y="132"/>
                    </a:lnTo>
                    <a:lnTo>
                      <a:pt x="475" y="141"/>
                    </a:lnTo>
                    <a:lnTo>
                      <a:pt x="475" y="141"/>
                    </a:lnTo>
                    <a:lnTo>
                      <a:pt x="475" y="150"/>
                    </a:lnTo>
                    <a:lnTo>
                      <a:pt x="484" y="159"/>
                    </a:lnTo>
                    <a:lnTo>
                      <a:pt x="475" y="159"/>
                    </a:lnTo>
                    <a:lnTo>
                      <a:pt x="475" y="168"/>
                    </a:lnTo>
                    <a:lnTo>
                      <a:pt x="484" y="176"/>
                    </a:lnTo>
                    <a:lnTo>
                      <a:pt x="484" y="194"/>
                    </a:lnTo>
                    <a:lnTo>
                      <a:pt x="484" y="194"/>
                    </a:lnTo>
                    <a:lnTo>
                      <a:pt x="484" y="203"/>
                    </a:lnTo>
                    <a:lnTo>
                      <a:pt x="484" y="203"/>
                    </a:lnTo>
                    <a:lnTo>
                      <a:pt x="493" y="212"/>
                    </a:lnTo>
                    <a:lnTo>
                      <a:pt x="493" y="221"/>
                    </a:lnTo>
                    <a:lnTo>
                      <a:pt x="502" y="229"/>
                    </a:lnTo>
                    <a:lnTo>
                      <a:pt x="502" y="229"/>
                    </a:lnTo>
                    <a:lnTo>
                      <a:pt x="502" y="238"/>
                    </a:lnTo>
                    <a:lnTo>
                      <a:pt x="511" y="238"/>
                    </a:lnTo>
                    <a:lnTo>
                      <a:pt x="511" y="247"/>
                    </a:lnTo>
                    <a:lnTo>
                      <a:pt x="511" y="247"/>
                    </a:lnTo>
                    <a:lnTo>
                      <a:pt x="414" y="247"/>
                    </a:lnTo>
                    <a:lnTo>
                      <a:pt x="335" y="247"/>
                    </a:lnTo>
                    <a:lnTo>
                      <a:pt x="185" y="247"/>
                    </a:lnTo>
                    <a:lnTo>
                      <a:pt x="115" y="238"/>
                    </a:lnTo>
                    <a:lnTo>
                      <a:pt x="115" y="168"/>
                    </a:lnTo>
                    <a:lnTo>
                      <a:pt x="115" y="159"/>
                    </a:lnTo>
                    <a:lnTo>
                      <a:pt x="53" y="159"/>
                    </a:lnTo>
                    <a:lnTo>
                      <a:pt x="0" y="159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61" name="Freeform 90"/>
              <p:cNvSpPr>
                <a:spLocks/>
              </p:cNvSpPr>
              <p:nvPr/>
            </p:nvSpPr>
            <p:spPr bwMode="auto">
              <a:xfrm>
                <a:off x="2416966" y="2414138"/>
                <a:ext cx="685574" cy="331383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68" y="8"/>
                  </a:cxn>
                  <a:cxn ang="0">
                    <a:pos x="326" y="8"/>
                  </a:cxn>
                  <a:cxn ang="0">
                    <a:pos x="352" y="26"/>
                  </a:cxn>
                  <a:cxn ang="0">
                    <a:pos x="361" y="17"/>
                  </a:cxn>
                  <a:cxn ang="0">
                    <a:pos x="396" y="17"/>
                  </a:cxn>
                  <a:cxn ang="0">
                    <a:pos x="414" y="26"/>
                  </a:cxn>
                  <a:cxn ang="0">
                    <a:pos x="414" y="35"/>
                  </a:cxn>
                  <a:cxn ang="0">
                    <a:pos x="423" y="35"/>
                  </a:cxn>
                  <a:cxn ang="0">
                    <a:pos x="431" y="44"/>
                  </a:cxn>
                  <a:cxn ang="0">
                    <a:pos x="440" y="53"/>
                  </a:cxn>
                  <a:cxn ang="0">
                    <a:pos x="449" y="53"/>
                  </a:cxn>
                  <a:cxn ang="0">
                    <a:pos x="449" y="61"/>
                  </a:cxn>
                  <a:cxn ang="0">
                    <a:pos x="449" y="70"/>
                  </a:cxn>
                  <a:cxn ang="0">
                    <a:pos x="458" y="88"/>
                  </a:cxn>
                  <a:cxn ang="0">
                    <a:pos x="467" y="97"/>
                  </a:cxn>
                  <a:cxn ang="0">
                    <a:pos x="467" y="106"/>
                  </a:cxn>
                  <a:cxn ang="0">
                    <a:pos x="467" y="114"/>
                  </a:cxn>
                  <a:cxn ang="0">
                    <a:pos x="467" y="123"/>
                  </a:cxn>
                  <a:cxn ang="0">
                    <a:pos x="475" y="132"/>
                  </a:cxn>
                  <a:cxn ang="0">
                    <a:pos x="475" y="141"/>
                  </a:cxn>
                  <a:cxn ang="0">
                    <a:pos x="475" y="150"/>
                  </a:cxn>
                  <a:cxn ang="0">
                    <a:pos x="475" y="159"/>
                  </a:cxn>
                  <a:cxn ang="0">
                    <a:pos x="484" y="176"/>
                  </a:cxn>
                  <a:cxn ang="0">
                    <a:pos x="484" y="194"/>
                  </a:cxn>
                  <a:cxn ang="0">
                    <a:pos x="484" y="203"/>
                  </a:cxn>
                  <a:cxn ang="0">
                    <a:pos x="493" y="221"/>
                  </a:cxn>
                  <a:cxn ang="0">
                    <a:pos x="502" y="229"/>
                  </a:cxn>
                  <a:cxn ang="0">
                    <a:pos x="511" y="238"/>
                  </a:cxn>
                  <a:cxn ang="0">
                    <a:pos x="511" y="247"/>
                  </a:cxn>
                  <a:cxn ang="0">
                    <a:pos x="335" y="247"/>
                  </a:cxn>
                  <a:cxn ang="0">
                    <a:pos x="115" y="238"/>
                  </a:cxn>
                  <a:cxn ang="0">
                    <a:pos x="115" y="159"/>
                  </a:cxn>
                  <a:cxn ang="0">
                    <a:pos x="0" y="159"/>
                  </a:cxn>
                </a:cxnLst>
                <a:rect l="0" t="0" r="r" b="b"/>
                <a:pathLst>
                  <a:path w="511" h="247">
                    <a:moveTo>
                      <a:pt x="0" y="159"/>
                    </a:moveTo>
                    <a:lnTo>
                      <a:pt x="9" y="0"/>
                    </a:lnTo>
                    <a:lnTo>
                      <a:pt x="71" y="0"/>
                    </a:lnTo>
                    <a:lnTo>
                      <a:pt x="168" y="8"/>
                    </a:lnTo>
                    <a:lnTo>
                      <a:pt x="264" y="8"/>
                    </a:lnTo>
                    <a:lnTo>
                      <a:pt x="326" y="8"/>
                    </a:lnTo>
                    <a:lnTo>
                      <a:pt x="335" y="17"/>
                    </a:lnTo>
                    <a:lnTo>
                      <a:pt x="352" y="26"/>
                    </a:lnTo>
                    <a:lnTo>
                      <a:pt x="361" y="26"/>
                    </a:lnTo>
                    <a:lnTo>
                      <a:pt x="361" y="17"/>
                    </a:lnTo>
                    <a:lnTo>
                      <a:pt x="370" y="26"/>
                    </a:lnTo>
                    <a:lnTo>
                      <a:pt x="396" y="17"/>
                    </a:lnTo>
                    <a:lnTo>
                      <a:pt x="405" y="26"/>
                    </a:lnTo>
                    <a:lnTo>
                      <a:pt x="414" y="26"/>
                    </a:lnTo>
                    <a:lnTo>
                      <a:pt x="414" y="26"/>
                    </a:lnTo>
                    <a:lnTo>
                      <a:pt x="414" y="35"/>
                    </a:lnTo>
                    <a:lnTo>
                      <a:pt x="423" y="35"/>
                    </a:lnTo>
                    <a:lnTo>
                      <a:pt x="423" y="35"/>
                    </a:lnTo>
                    <a:lnTo>
                      <a:pt x="431" y="35"/>
                    </a:lnTo>
                    <a:lnTo>
                      <a:pt x="431" y="44"/>
                    </a:lnTo>
                    <a:lnTo>
                      <a:pt x="440" y="44"/>
                    </a:lnTo>
                    <a:lnTo>
                      <a:pt x="440" y="53"/>
                    </a:lnTo>
                    <a:lnTo>
                      <a:pt x="449" y="53"/>
                    </a:lnTo>
                    <a:lnTo>
                      <a:pt x="449" y="53"/>
                    </a:lnTo>
                    <a:lnTo>
                      <a:pt x="449" y="61"/>
                    </a:lnTo>
                    <a:lnTo>
                      <a:pt x="449" y="61"/>
                    </a:lnTo>
                    <a:lnTo>
                      <a:pt x="449" y="70"/>
                    </a:lnTo>
                    <a:lnTo>
                      <a:pt x="449" y="70"/>
                    </a:lnTo>
                    <a:lnTo>
                      <a:pt x="458" y="79"/>
                    </a:lnTo>
                    <a:lnTo>
                      <a:pt x="458" y="88"/>
                    </a:lnTo>
                    <a:lnTo>
                      <a:pt x="467" y="97"/>
                    </a:lnTo>
                    <a:lnTo>
                      <a:pt x="467" y="97"/>
                    </a:lnTo>
                    <a:lnTo>
                      <a:pt x="467" y="106"/>
                    </a:lnTo>
                    <a:lnTo>
                      <a:pt x="467" y="106"/>
                    </a:lnTo>
                    <a:lnTo>
                      <a:pt x="467" y="114"/>
                    </a:lnTo>
                    <a:lnTo>
                      <a:pt x="467" y="114"/>
                    </a:lnTo>
                    <a:lnTo>
                      <a:pt x="467" y="123"/>
                    </a:lnTo>
                    <a:lnTo>
                      <a:pt x="467" y="123"/>
                    </a:lnTo>
                    <a:lnTo>
                      <a:pt x="475" y="123"/>
                    </a:lnTo>
                    <a:lnTo>
                      <a:pt x="475" y="132"/>
                    </a:lnTo>
                    <a:lnTo>
                      <a:pt x="475" y="132"/>
                    </a:lnTo>
                    <a:lnTo>
                      <a:pt x="475" y="141"/>
                    </a:lnTo>
                    <a:lnTo>
                      <a:pt x="475" y="141"/>
                    </a:lnTo>
                    <a:lnTo>
                      <a:pt x="475" y="150"/>
                    </a:lnTo>
                    <a:lnTo>
                      <a:pt x="484" y="159"/>
                    </a:lnTo>
                    <a:lnTo>
                      <a:pt x="475" y="159"/>
                    </a:lnTo>
                    <a:lnTo>
                      <a:pt x="475" y="168"/>
                    </a:lnTo>
                    <a:lnTo>
                      <a:pt x="484" y="176"/>
                    </a:lnTo>
                    <a:lnTo>
                      <a:pt x="484" y="194"/>
                    </a:lnTo>
                    <a:lnTo>
                      <a:pt x="484" y="194"/>
                    </a:lnTo>
                    <a:lnTo>
                      <a:pt x="484" y="203"/>
                    </a:lnTo>
                    <a:lnTo>
                      <a:pt x="484" y="203"/>
                    </a:lnTo>
                    <a:lnTo>
                      <a:pt x="493" y="212"/>
                    </a:lnTo>
                    <a:lnTo>
                      <a:pt x="493" y="221"/>
                    </a:lnTo>
                    <a:lnTo>
                      <a:pt x="502" y="229"/>
                    </a:lnTo>
                    <a:lnTo>
                      <a:pt x="502" y="229"/>
                    </a:lnTo>
                    <a:lnTo>
                      <a:pt x="502" y="238"/>
                    </a:lnTo>
                    <a:lnTo>
                      <a:pt x="511" y="238"/>
                    </a:lnTo>
                    <a:lnTo>
                      <a:pt x="511" y="247"/>
                    </a:lnTo>
                    <a:lnTo>
                      <a:pt x="511" y="247"/>
                    </a:lnTo>
                    <a:lnTo>
                      <a:pt x="414" y="247"/>
                    </a:lnTo>
                    <a:lnTo>
                      <a:pt x="335" y="247"/>
                    </a:lnTo>
                    <a:lnTo>
                      <a:pt x="185" y="247"/>
                    </a:lnTo>
                    <a:lnTo>
                      <a:pt x="115" y="238"/>
                    </a:lnTo>
                    <a:lnTo>
                      <a:pt x="115" y="168"/>
                    </a:lnTo>
                    <a:lnTo>
                      <a:pt x="115" y="159"/>
                    </a:lnTo>
                    <a:lnTo>
                      <a:pt x="53" y="159"/>
                    </a:lnTo>
                    <a:lnTo>
                      <a:pt x="0" y="159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62" name="Freeform 93"/>
              <p:cNvSpPr>
                <a:spLocks/>
              </p:cNvSpPr>
              <p:nvPr/>
            </p:nvSpPr>
            <p:spPr bwMode="auto">
              <a:xfrm>
                <a:off x="3066315" y="2674415"/>
                <a:ext cx="567511" cy="487013"/>
              </a:xfrm>
              <a:custGeom>
                <a:avLst/>
                <a:gdLst/>
                <a:ahLst/>
                <a:cxnLst>
                  <a:cxn ang="0">
                    <a:pos x="71" y="9"/>
                  </a:cxn>
                  <a:cxn ang="0">
                    <a:pos x="203" y="0"/>
                  </a:cxn>
                  <a:cxn ang="0">
                    <a:pos x="247" y="0"/>
                  </a:cxn>
                  <a:cxn ang="0">
                    <a:pos x="255" y="18"/>
                  </a:cxn>
                  <a:cxn ang="0">
                    <a:pos x="255" y="18"/>
                  </a:cxn>
                  <a:cxn ang="0">
                    <a:pos x="255" y="35"/>
                  </a:cxn>
                  <a:cxn ang="0">
                    <a:pos x="264" y="44"/>
                  </a:cxn>
                  <a:cxn ang="0">
                    <a:pos x="264" y="62"/>
                  </a:cxn>
                  <a:cxn ang="0">
                    <a:pos x="273" y="71"/>
                  </a:cxn>
                  <a:cxn ang="0">
                    <a:pos x="282" y="80"/>
                  </a:cxn>
                  <a:cxn ang="0">
                    <a:pos x="299" y="97"/>
                  </a:cxn>
                  <a:cxn ang="0">
                    <a:pos x="308" y="106"/>
                  </a:cxn>
                  <a:cxn ang="0">
                    <a:pos x="317" y="133"/>
                  </a:cxn>
                  <a:cxn ang="0">
                    <a:pos x="326" y="124"/>
                  </a:cxn>
                  <a:cxn ang="0">
                    <a:pos x="335" y="124"/>
                  </a:cxn>
                  <a:cxn ang="0">
                    <a:pos x="343" y="133"/>
                  </a:cxn>
                  <a:cxn ang="0">
                    <a:pos x="343" y="142"/>
                  </a:cxn>
                  <a:cxn ang="0">
                    <a:pos x="343" y="159"/>
                  </a:cxn>
                  <a:cxn ang="0">
                    <a:pos x="335" y="168"/>
                  </a:cxn>
                  <a:cxn ang="0">
                    <a:pos x="335" y="186"/>
                  </a:cxn>
                  <a:cxn ang="0">
                    <a:pos x="361" y="203"/>
                  </a:cxn>
                  <a:cxn ang="0">
                    <a:pos x="361" y="212"/>
                  </a:cxn>
                  <a:cxn ang="0">
                    <a:pos x="379" y="212"/>
                  </a:cxn>
                  <a:cxn ang="0">
                    <a:pos x="387" y="221"/>
                  </a:cxn>
                  <a:cxn ang="0">
                    <a:pos x="387" y="230"/>
                  </a:cxn>
                  <a:cxn ang="0">
                    <a:pos x="396" y="248"/>
                  </a:cxn>
                  <a:cxn ang="0">
                    <a:pos x="396" y="265"/>
                  </a:cxn>
                  <a:cxn ang="0">
                    <a:pos x="414" y="274"/>
                  </a:cxn>
                  <a:cxn ang="0">
                    <a:pos x="423" y="283"/>
                  </a:cxn>
                  <a:cxn ang="0">
                    <a:pos x="423" y="292"/>
                  </a:cxn>
                  <a:cxn ang="0">
                    <a:pos x="414" y="301"/>
                  </a:cxn>
                  <a:cxn ang="0">
                    <a:pos x="414" y="310"/>
                  </a:cxn>
                  <a:cxn ang="0">
                    <a:pos x="405" y="318"/>
                  </a:cxn>
                  <a:cxn ang="0">
                    <a:pos x="396" y="318"/>
                  </a:cxn>
                  <a:cxn ang="0">
                    <a:pos x="396" y="318"/>
                  </a:cxn>
                  <a:cxn ang="0">
                    <a:pos x="396" y="327"/>
                  </a:cxn>
                  <a:cxn ang="0">
                    <a:pos x="387" y="336"/>
                  </a:cxn>
                  <a:cxn ang="0">
                    <a:pos x="387" y="345"/>
                  </a:cxn>
                  <a:cxn ang="0">
                    <a:pos x="352" y="363"/>
                  </a:cxn>
                  <a:cxn ang="0">
                    <a:pos x="352" y="354"/>
                  </a:cxn>
                  <a:cxn ang="0">
                    <a:pos x="361" y="345"/>
                  </a:cxn>
                  <a:cxn ang="0">
                    <a:pos x="361" y="336"/>
                  </a:cxn>
                  <a:cxn ang="0">
                    <a:pos x="361" y="318"/>
                  </a:cxn>
                  <a:cxn ang="0">
                    <a:pos x="238" y="327"/>
                  </a:cxn>
                  <a:cxn ang="0">
                    <a:pos x="79" y="336"/>
                  </a:cxn>
                  <a:cxn ang="0">
                    <a:pos x="71" y="124"/>
                  </a:cxn>
                  <a:cxn ang="0">
                    <a:pos x="62" y="115"/>
                  </a:cxn>
                  <a:cxn ang="0">
                    <a:pos x="53" y="106"/>
                  </a:cxn>
                  <a:cxn ang="0">
                    <a:pos x="44" y="97"/>
                  </a:cxn>
                  <a:cxn ang="0">
                    <a:pos x="53" y="80"/>
                  </a:cxn>
                  <a:cxn ang="0">
                    <a:pos x="53" y="80"/>
                  </a:cxn>
                  <a:cxn ang="0">
                    <a:pos x="53" y="71"/>
                  </a:cxn>
                  <a:cxn ang="0">
                    <a:pos x="44" y="62"/>
                  </a:cxn>
                  <a:cxn ang="0">
                    <a:pos x="27" y="53"/>
                  </a:cxn>
                  <a:cxn ang="0">
                    <a:pos x="27" y="44"/>
                  </a:cxn>
                  <a:cxn ang="0">
                    <a:pos x="18" y="35"/>
                  </a:cxn>
                  <a:cxn ang="0">
                    <a:pos x="9" y="27"/>
                  </a:cxn>
                  <a:cxn ang="0">
                    <a:pos x="0" y="9"/>
                  </a:cxn>
                </a:cxnLst>
                <a:rect l="0" t="0" r="r" b="b"/>
                <a:pathLst>
                  <a:path w="423" h="363">
                    <a:moveTo>
                      <a:pt x="0" y="9"/>
                    </a:moveTo>
                    <a:lnTo>
                      <a:pt x="71" y="9"/>
                    </a:lnTo>
                    <a:lnTo>
                      <a:pt x="106" y="9"/>
                    </a:lnTo>
                    <a:lnTo>
                      <a:pt x="203" y="0"/>
                    </a:lnTo>
                    <a:lnTo>
                      <a:pt x="238" y="0"/>
                    </a:lnTo>
                    <a:lnTo>
                      <a:pt x="247" y="0"/>
                    </a:lnTo>
                    <a:lnTo>
                      <a:pt x="255" y="9"/>
                    </a:lnTo>
                    <a:lnTo>
                      <a:pt x="255" y="18"/>
                    </a:lnTo>
                    <a:lnTo>
                      <a:pt x="255" y="18"/>
                    </a:lnTo>
                    <a:lnTo>
                      <a:pt x="255" y="18"/>
                    </a:lnTo>
                    <a:lnTo>
                      <a:pt x="255" y="27"/>
                    </a:lnTo>
                    <a:lnTo>
                      <a:pt x="255" y="35"/>
                    </a:lnTo>
                    <a:lnTo>
                      <a:pt x="255" y="44"/>
                    </a:lnTo>
                    <a:lnTo>
                      <a:pt x="264" y="44"/>
                    </a:lnTo>
                    <a:lnTo>
                      <a:pt x="264" y="62"/>
                    </a:lnTo>
                    <a:lnTo>
                      <a:pt x="264" y="62"/>
                    </a:lnTo>
                    <a:lnTo>
                      <a:pt x="264" y="71"/>
                    </a:lnTo>
                    <a:lnTo>
                      <a:pt x="273" y="71"/>
                    </a:lnTo>
                    <a:lnTo>
                      <a:pt x="282" y="80"/>
                    </a:lnTo>
                    <a:lnTo>
                      <a:pt x="282" y="80"/>
                    </a:lnTo>
                    <a:lnTo>
                      <a:pt x="282" y="88"/>
                    </a:lnTo>
                    <a:lnTo>
                      <a:pt x="299" y="97"/>
                    </a:lnTo>
                    <a:lnTo>
                      <a:pt x="299" y="97"/>
                    </a:lnTo>
                    <a:lnTo>
                      <a:pt x="308" y="106"/>
                    </a:lnTo>
                    <a:lnTo>
                      <a:pt x="308" y="124"/>
                    </a:lnTo>
                    <a:lnTo>
                      <a:pt x="317" y="133"/>
                    </a:lnTo>
                    <a:lnTo>
                      <a:pt x="317" y="133"/>
                    </a:lnTo>
                    <a:lnTo>
                      <a:pt x="326" y="124"/>
                    </a:lnTo>
                    <a:lnTo>
                      <a:pt x="326" y="124"/>
                    </a:lnTo>
                    <a:lnTo>
                      <a:pt x="335" y="124"/>
                    </a:lnTo>
                    <a:lnTo>
                      <a:pt x="335" y="124"/>
                    </a:lnTo>
                    <a:lnTo>
                      <a:pt x="343" y="133"/>
                    </a:lnTo>
                    <a:lnTo>
                      <a:pt x="343" y="133"/>
                    </a:lnTo>
                    <a:lnTo>
                      <a:pt x="343" y="142"/>
                    </a:lnTo>
                    <a:lnTo>
                      <a:pt x="343" y="150"/>
                    </a:lnTo>
                    <a:lnTo>
                      <a:pt x="343" y="159"/>
                    </a:lnTo>
                    <a:lnTo>
                      <a:pt x="335" y="168"/>
                    </a:lnTo>
                    <a:lnTo>
                      <a:pt x="335" y="168"/>
                    </a:lnTo>
                    <a:lnTo>
                      <a:pt x="335" y="177"/>
                    </a:lnTo>
                    <a:lnTo>
                      <a:pt x="335" y="186"/>
                    </a:lnTo>
                    <a:lnTo>
                      <a:pt x="343" y="195"/>
                    </a:lnTo>
                    <a:lnTo>
                      <a:pt x="361" y="203"/>
                    </a:lnTo>
                    <a:lnTo>
                      <a:pt x="361" y="203"/>
                    </a:lnTo>
                    <a:lnTo>
                      <a:pt x="361" y="212"/>
                    </a:lnTo>
                    <a:lnTo>
                      <a:pt x="370" y="203"/>
                    </a:lnTo>
                    <a:lnTo>
                      <a:pt x="379" y="212"/>
                    </a:lnTo>
                    <a:lnTo>
                      <a:pt x="379" y="221"/>
                    </a:lnTo>
                    <a:lnTo>
                      <a:pt x="387" y="221"/>
                    </a:lnTo>
                    <a:lnTo>
                      <a:pt x="387" y="221"/>
                    </a:lnTo>
                    <a:lnTo>
                      <a:pt x="387" y="230"/>
                    </a:lnTo>
                    <a:lnTo>
                      <a:pt x="396" y="248"/>
                    </a:lnTo>
                    <a:lnTo>
                      <a:pt x="396" y="248"/>
                    </a:lnTo>
                    <a:lnTo>
                      <a:pt x="396" y="256"/>
                    </a:lnTo>
                    <a:lnTo>
                      <a:pt x="396" y="265"/>
                    </a:lnTo>
                    <a:lnTo>
                      <a:pt x="405" y="274"/>
                    </a:lnTo>
                    <a:lnTo>
                      <a:pt x="414" y="274"/>
                    </a:lnTo>
                    <a:lnTo>
                      <a:pt x="423" y="274"/>
                    </a:lnTo>
                    <a:lnTo>
                      <a:pt x="423" y="283"/>
                    </a:lnTo>
                    <a:lnTo>
                      <a:pt x="423" y="283"/>
                    </a:lnTo>
                    <a:lnTo>
                      <a:pt x="423" y="292"/>
                    </a:lnTo>
                    <a:lnTo>
                      <a:pt x="414" y="301"/>
                    </a:lnTo>
                    <a:lnTo>
                      <a:pt x="414" y="301"/>
                    </a:lnTo>
                    <a:lnTo>
                      <a:pt x="414" y="310"/>
                    </a:lnTo>
                    <a:lnTo>
                      <a:pt x="414" y="310"/>
                    </a:lnTo>
                    <a:lnTo>
                      <a:pt x="405" y="310"/>
                    </a:lnTo>
                    <a:lnTo>
                      <a:pt x="405" y="318"/>
                    </a:lnTo>
                    <a:lnTo>
                      <a:pt x="396" y="318"/>
                    </a:lnTo>
                    <a:lnTo>
                      <a:pt x="396" y="318"/>
                    </a:lnTo>
                    <a:lnTo>
                      <a:pt x="396" y="318"/>
                    </a:lnTo>
                    <a:lnTo>
                      <a:pt x="396" y="318"/>
                    </a:lnTo>
                    <a:lnTo>
                      <a:pt x="396" y="327"/>
                    </a:lnTo>
                    <a:lnTo>
                      <a:pt x="396" y="327"/>
                    </a:lnTo>
                    <a:lnTo>
                      <a:pt x="396" y="336"/>
                    </a:lnTo>
                    <a:lnTo>
                      <a:pt x="387" y="336"/>
                    </a:lnTo>
                    <a:lnTo>
                      <a:pt x="396" y="345"/>
                    </a:lnTo>
                    <a:lnTo>
                      <a:pt x="387" y="345"/>
                    </a:lnTo>
                    <a:lnTo>
                      <a:pt x="387" y="354"/>
                    </a:lnTo>
                    <a:lnTo>
                      <a:pt x="352" y="363"/>
                    </a:lnTo>
                    <a:lnTo>
                      <a:pt x="352" y="354"/>
                    </a:lnTo>
                    <a:lnTo>
                      <a:pt x="352" y="354"/>
                    </a:lnTo>
                    <a:lnTo>
                      <a:pt x="352" y="345"/>
                    </a:lnTo>
                    <a:lnTo>
                      <a:pt x="361" y="345"/>
                    </a:lnTo>
                    <a:lnTo>
                      <a:pt x="361" y="336"/>
                    </a:lnTo>
                    <a:lnTo>
                      <a:pt x="361" y="336"/>
                    </a:lnTo>
                    <a:lnTo>
                      <a:pt x="361" y="327"/>
                    </a:lnTo>
                    <a:lnTo>
                      <a:pt x="361" y="318"/>
                    </a:lnTo>
                    <a:lnTo>
                      <a:pt x="352" y="318"/>
                    </a:lnTo>
                    <a:lnTo>
                      <a:pt x="238" y="327"/>
                    </a:lnTo>
                    <a:lnTo>
                      <a:pt x="141" y="327"/>
                    </a:lnTo>
                    <a:lnTo>
                      <a:pt x="79" y="336"/>
                    </a:lnTo>
                    <a:lnTo>
                      <a:pt x="79" y="292"/>
                    </a:lnTo>
                    <a:lnTo>
                      <a:pt x="71" y="124"/>
                    </a:lnTo>
                    <a:lnTo>
                      <a:pt x="71" y="124"/>
                    </a:lnTo>
                    <a:lnTo>
                      <a:pt x="62" y="115"/>
                    </a:lnTo>
                    <a:lnTo>
                      <a:pt x="53" y="106"/>
                    </a:lnTo>
                    <a:lnTo>
                      <a:pt x="53" y="106"/>
                    </a:lnTo>
                    <a:lnTo>
                      <a:pt x="53" y="97"/>
                    </a:lnTo>
                    <a:lnTo>
                      <a:pt x="44" y="97"/>
                    </a:lnTo>
                    <a:lnTo>
                      <a:pt x="44" y="88"/>
                    </a:lnTo>
                    <a:lnTo>
                      <a:pt x="53" y="80"/>
                    </a:lnTo>
                    <a:lnTo>
                      <a:pt x="53" y="71"/>
                    </a:lnTo>
                    <a:lnTo>
                      <a:pt x="53" y="80"/>
                    </a:lnTo>
                    <a:lnTo>
                      <a:pt x="53" y="71"/>
                    </a:lnTo>
                    <a:lnTo>
                      <a:pt x="53" y="71"/>
                    </a:lnTo>
                    <a:lnTo>
                      <a:pt x="53" y="62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27" y="53"/>
                    </a:lnTo>
                    <a:lnTo>
                      <a:pt x="27" y="53"/>
                    </a:lnTo>
                    <a:lnTo>
                      <a:pt x="27" y="44"/>
                    </a:lnTo>
                    <a:lnTo>
                      <a:pt x="18" y="44"/>
                    </a:lnTo>
                    <a:lnTo>
                      <a:pt x="18" y="35"/>
                    </a:lnTo>
                    <a:lnTo>
                      <a:pt x="18" y="35"/>
                    </a:lnTo>
                    <a:lnTo>
                      <a:pt x="9" y="27"/>
                    </a:lnTo>
                    <a:lnTo>
                      <a:pt x="9" y="18"/>
                    </a:lnTo>
                    <a:lnTo>
                      <a:pt x="0" y="9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63" name="Freeform 94"/>
              <p:cNvSpPr>
                <a:spLocks/>
              </p:cNvSpPr>
              <p:nvPr/>
            </p:nvSpPr>
            <p:spPr bwMode="auto">
              <a:xfrm>
                <a:off x="3066315" y="2674415"/>
                <a:ext cx="567511" cy="487013"/>
              </a:xfrm>
              <a:custGeom>
                <a:avLst/>
                <a:gdLst/>
                <a:ahLst/>
                <a:cxnLst>
                  <a:cxn ang="0">
                    <a:pos x="71" y="9"/>
                  </a:cxn>
                  <a:cxn ang="0">
                    <a:pos x="203" y="0"/>
                  </a:cxn>
                  <a:cxn ang="0">
                    <a:pos x="247" y="0"/>
                  </a:cxn>
                  <a:cxn ang="0">
                    <a:pos x="255" y="18"/>
                  </a:cxn>
                  <a:cxn ang="0">
                    <a:pos x="255" y="18"/>
                  </a:cxn>
                  <a:cxn ang="0">
                    <a:pos x="255" y="35"/>
                  </a:cxn>
                  <a:cxn ang="0">
                    <a:pos x="264" y="44"/>
                  </a:cxn>
                  <a:cxn ang="0">
                    <a:pos x="264" y="62"/>
                  </a:cxn>
                  <a:cxn ang="0">
                    <a:pos x="273" y="71"/>
                  </a:cxn>
                  <a:cxn ang="0">
                    <a:pos x="282" y="80"/>
                  </a:cxn>
                  <a:cxn ang="0">
                    <a:pos x="299" y="97"/>
                  </a:cxn>
                  <a:cxn ang="0">
                    <a:pos x="308" y="106"/>
                  </a:cxn>
                  <a:cxn ang="0">
                    <a:pos x="317" y="133"/>
                  </a:cxn>
                  <a:cxn ang="0">
                    <a:pos x="326" y="124"/>
                  </a:cxn>
                  <a:cxn ang="0">
                    <a:pos x="335" y="124"/>
                  </a:cxn>
                  <a:cxn ang="0">
                    <a:pos x="343" y="133"/>
                  </a:cxn>
                  <a:cxn ang="0">
                    <a:pos x="343" y="142"/>
                  </a:cxn>
                  <a:cxn ang="0">
                    <a:pos x="343" y="159"/>
                  </a:cxn>
                  <a:cxn ang="0">
                    <a:pos x="335" y="168"/>
                  </a:cxn>
                  <a:cxn ang="0">
                    <a:pos x="335" y="186"/>
                  </a:cxn>
                  <a:cxn ang="0">
                    <a:pos x="361" y="203"/>
                  </a:cxn>
                  <a:cxn ang="0">
                    <a:pos x="361" y="212"/>
                  </a:cxn>
                  <a:cxn ang="0">
                    <a:pos x="379" y="212"/>
                  </a:cxn>
                  <a:cxn ang="0">
                    <a:pos x="387" y="221"/>
                  </a:cxn>
                  <a:cxn ang="0">
                    <a:pos x="387" y="230"/>
                  </a:cxn>
                  <a:cxn ang="0">
                    <a:pos x="396" y="248"/>
                  </a:cxn>
                  <a:cxn ang="0">
                    <a:pos x="396" y="265"/>
                  </a:cxn>
                  <a:cxn ang="0">
                    <a:pos x="414" y="274"/>
                  </a:cxn>
                  <a:cxn ang="0">
                    <a:pos x="423" y="283"/>
                  </a:cxn>
                  <a:cxn ang="0">
                    <a:pos x="423" y="292"/>
                  </a:cxn>
                  <a:cxn ang="0">
                    <a:pos x="414" y="301"/>
                  </a:cxn>
                  <a:cxn ang="0">
                    <a:pos x="414" y="310"/>
                  </a:cxn>
                  <a:cxn ang="0">
                    <a:pos x="405" y="318"/>
                  </a:cxn>
                  <a:cxn ang="0">
                    <a:pos x="396" y="318"/>
                  </a:cxn>
                  <a:cxn ang="0">
                    <a:pos x="396" y="318"/>
                  </a:cxn>
                  <a:cxn ang="0">
                    <a:pos x="396" y="327"/>
                  </a:cxn>
                  <a:cxn ang="0">
                    <a:pos x="387" y="336"/>
                  </a:cxn>
                  <a:cxn ang="0">
                    <a:pos x="387" y="345"/>
                  </a:cxn>
                  <a:cxn ang="0">
                    <a:pos x="352" y="363"/>
                  </a:cxn>
                  <a:cxn ang="0">
                    <a:pos x="352" y="354"/>
                  </a:cxn>
                  <a:cxn ang="0">
                    <a:pos x="361" y="345"/>
                  </a:cxn>
                  <a:cxn ang="0">
                    <a:pos x="361" y="336"/>
                  </a:cxn>
                  <a:cxn ang="0">
                    <a:pos x="361" y="318"/>
                  </a:cxn>
                  <a:cxn ang="0">
                    <a:pos x="238" y="327"/>
                  </a:cxn>
                  <a:cxn ang="0">
                    <a:pos x="79" y="336"/>
                  </a:cxn>
                  <a:cxn ang="0">
                    <a:pos x="71" y="124"/>
                  </a:cxn>
                  <a:cxn ang="0">
                    <a:pos x="62" y="115"/>
                  </a:cxn>
                  <a:cxn ang="0">
                    <a:pos x="53" y="106"/>
                  </a:cxn>
                  <a:cxn ang="0">
                    <a:pos x="44" y="97"/>
                  </a:cxn>
                  <a:cxn ang="0">
                    <a:pos x="53" y="80"/>
                  </a:cxn>
                  <a:cxn ang="0">
                    <a:pos x="53" y="80"/>
                  </a:cxn>
                  <a:cxn ang="0">
                    <a:pos x="53" y="71"/>
                  </a:cxn>
                  <a:cxn ang="0">
                    <a:pos x="44" y="62"/>
                  </a:cxn>
                  <a:cxn ang="0">
                    <a:pos x="27" y="53"/>
                  </a:cxn>
                  <a:cxn ang="0">
                    <a:pos x="27" y="44"/>
                  </a:cxn>
                  <a:cxn ang="0">
                    <a:pos x="18" y="35"/>
                  </a:cxn>
                  <a:cxn ang="0">
                    <a:pos x="9" y="27"/>
                  </a:cxn>
                  <a:cxn ang="0">
                    <a:pos x="0" y="9"/>
                  </a:cxn>
                </a:cxnLst>
                <a:rect l="0" t="0" r="r" b="b"/>
                <a:pathLst>
                  <a:path w="423" h="363">
                    <a:moveTo>
                      <a:pt x="0" y="9"/>
                    </a:moveTo>
                    <a:lnTo>
                      <a:pt x="71" y="9"/>
                    </a:lnTo>
                    <a:lnTo>
                      <a:pt x="106" y="9"/>
                    </a:lnTo>
                    <a:lnTo>
                      <a:pt x="203" y="0"/>
                    </a:lnTo>
                    <a:lnTo>
                      <a:pt x="238" y="0"/>
                    </a:lnTo>
                    <a:lnTo>
                      <a:pt x="247" y="0"/>
                    </a:lnTo>
                    <a:lnTo>
                      <a:pt x="255" y="9"/>
                    </a:lnTo>
                    <a:lnTo>
                      <a:pt x="255" y="18"/>
                    </a:lnTo>
                    <a:lnTo>
                      <a:pt x="255" y="18"/>
                    </a:lnTo>
                    <a:lnTo>
                      <a:pt x="255" y="18"/>
                    </a:lnTo>
                    <a:lnTo>
                      <a:pt x="255" y="27"/>
                    </a:lnTo>
                    <a:lnTo>
                      <a:pt x="255" y="35"/>
                    </a:lnTo>
                    <a:lnTo>
                      <a:pt x="255" y="44"/>
                    </a:lnTo>
                    <a:lnTo>
                      <a:pt x="264" y="44"/>
                    </a:lnTo>
                    <a:lnTo>
                      <a:pt x="264" y="62"/>
                    </a:lnTo>
                    <a:lnTo>
                      <a:pt x="264" y="62"/>
                    </a:lnTo>
                    <a:lnTo>
                      <a:pt x="264" y="71"/>
                    </a:lnTo>
                    <a:lnTo>
                      <a:pt x="273" y="71"/>
                    </a:lnTo>
                    <a:lnTo>
                      <a:pt x="282" y="80"/>
                    </a:lnTo>
                    <a:lnTo>
                      <a:pt x="282" y="80"/>
                    </a:lnTo>
                    <a:lnTo>
                      <a:pt x="282" y="88"/>
                    </a:lnTo>
                    <a:lnTo>
                      <a:pt x="299" y="97"/>
                    </a:lnTo>
                    <a:lnTo>
                      <a:pt x="299" y="97"/>
                    </a:lnTo>
                    <a:lnTo>
                      <a:pt x="308" y="106"/>
                    </a:lnTo>
                    <a:lnTo>
                      <a:pt x="308" y="124"/>
                    </a:lnTo>
                    <a:lnTo>
                      <a:pt x="317" y="133"/>
                    </a:lnTo>
                    <a:lnTo>
                      <a:pt x="317" y="133"/>
                    </a:lnTo>
                    <a:lnTo>
                      <a:pt x="326" y="124"/>
                    </a:lnTo>
                    <a:lnTo>
                      <a:pt x="326" y="124"/>
                    </a:lnTo>
                    <a:lnTo>
                      <a:pt x="335" y="124"/>
                    </a:lnTo>
                    <a:lnTo>
                      <a:pt x="335" y="124"/>
                    </a:lnTo>
                    <a:lnTo>
                      <a:pt x="343" y="133"/>
                    </a:lnTo>
                    <a:lnTo>
                      <a:pt x="343" y="133"/>
                    </a:lnTo>
                    <a:lnTo>
                      <a:pt x="343" y="142"/>
                    </a:lnTo>
                    <a:lnTo>
                      <a:pt x="343" y="150"/>
                    </a:lnTo>
                    <a:lnTo>
                      <a:pt x="343" y="159"/>
                    </a:lnTo>
                    <a:lnTo>
                      <a:pt x="335" y="168"/>
                    </a:lnTo>
                    <a:lnTo>
                      <a:pt x="335" y="168"/>
                    </a:lnTo>
                    <a:lnTo>
                      <a:pt x="335" y="177"/>
                    </a:lnTo>
                    <a:lnTo>
                      <a:pt x="335" y="186"/>
                    </a:lnTo>
                    <a:lnTo>
                      <a:pt x="343" y="195"/>
                    </a:lnTo>
                    <a:lnTo>
                      <a:pt x="361" y="203"/>
                    </a:lnTo>
                    <a:lnTo>
                      <a:pt x="361" y="203"/>
                    </a:lnTo>
                    <a:lnTo>
                      <a:pt x="361" y="212"/>
                    </a:lnTo>
                    <a:lnTo>
                      <a:pt x="370" y="203"/>
                    </a:lnTo>
                    <a:lnTo>
                      <a:pt x="379" y="212"/>
                    </a:lnTo>
                    <a:lnTo>
                      <a:pt x="379" y="221"/>
                    </a:lnTo>
                    <a:lnTo>
                      <a:pt x="387" y="221"/>
                    </a:lnTo>
                    <a:lnTo>
                      <a:pt x="387" y="221"/>
                    </a:lnTo>
                    <a:lnTo>
                      <a:pt x="387" y="230"/>
                    </a:lnTo>
                    <a:lnTo>
                      <a:pt x="396" y="248"/>
                    </a:lnTo>
                    <a:lnTo>
                      <a:pt x="396" y="248"/>
                    </a:lnTo>
                    <a:lnTo>
                      <a:pt x="396" y="256"/>
                    </a:lnTo>
                    <a:lnTo>
                      <a:pt x="396" y="265"/>
                    </a:lnTo>
                    <a:lnTo>
                      <a:pt x="405" y="274"/>
                    </a:lnTo>
                    <a:lnTo>
                      <a:pt x="414" y="274"/>
                    </a:lnTo>
                    <a:lnTo>
                      <a:pt x="423" y="274"/>
                    </a:lnTo>
                    <a:lnTo>
                      <a:pt x="423" y="283"/>
                    </a:lnTo>
                    <a:lnTo>
                      <a:pt x="423" y="283"/>
                    </a:lnTo>
                    <a:lnTo>
                      <a:pt x="423" y="292"/>
                    </a:lnTo>
                    <a:lnTo>
                      <a:pt x="414" y="301"/>
                    </a:lnTo>
                    <a:lnTo>
                      <a:pt x="414" y="301"/>
                    </a:lnTo>
                    <a:lnTo>
                      <a:pt x="414" y="310"/>
                    </a:lnTo>
                    <a:lnTo>
                      <a:pt x="414" y="310"/>
                    </a:lnTo>
                    <a:lnTo>
                      <a:pt x="405" y="310"/>
                    </a:lnTo>
                    <a:lnTo>
                      <a:pt x="405" y="318"/>
                    </a:lnTo>
                    <a:lnTo>
                      <a:pt x="396" y="318"/>
                    </a:lnTo>
                    <a:lnTo>
                      <a:pt x="396" y="318"/>
                    </a:lnTo>
                    <a:lnTo>
                      <a:pt x="396" y="318"/>
                    </a:lnTo>
                    <a:lnTo>
                      <a:pt x="396" y="318"/>
                    </a:lnTo>
                    <a:lnTo>
                      <a:pt x="396" y="327"/>
                    </a:lnTo>
                    <a:lnTo>
                      <a:pt x="396" y="327"/>
                    </a:lnTo>
                    <a:lnTo>
                      <a:pt x="396" y="336"/>
                    </a:lnTo>
                    <a:lnTo>
                      <a:pt x="387" y="336"/>
                    </a:lnTo>
                    <a:lnTo>
                      <a:pt x="396" y="345"/>
                    </a:lnTo>
                    <a:lnTo>
                      <a:pt x="387" y="345"/>
                    </a:lnTo>
                    <a:lnTo>
                      <a:pt x="387" y="354"/>
                    </a:lnTo>
                    <a:lnTo>
                      <a:pt x="352" y="363"/>
                    </a:lnTo>
                    <a:lnTo>
                      <a:pt x="352" y="354"/>
                    </a:lnTo>
                    <a:lnTo>
                      <a:pt x="352" y="354"/>
                    </a:lnTo>
                    <a:lnTo>
                      <a:pt x="352" y="345"/>
                    </a:lnTo>
                    <a:lnTo>
                      <a:pt x="361" y="345"/>
                    </a:lnTo>
                    <a:lnTo>
                      <a:pt x="361" y="336"/>
                    </a:lnTo>
                    <a:lnTo>
                      <a:pt x="361" y="336"/>
                    </a:lnTo>
                    <a:lnTo>
                      <a:pt x="361" y="327"/>
                    </a:lnTo>
                    <a:lnTo>
                      <a:pt x="361" y="318"/>
                    </a:lnTo>
                    <a:lnTo>
                      <a:pt x="352" y="318"/>
                    </a:lnTo>
                    <a:lnTo>
                      <a:pt x="238" y="327"/>
                    </a:lnTo>
                    <a:lnTo>
                      <a:pt x="141" y="327"/>
                    </a:lnTo>
                    <a:lnTo>
                      <a:pt x="79" y="336"/>
                    </a:lnTo>
                    <a:lnTo>
                      <a:pt x="79" y="292"/>
                    </a:lnTo>
                    <a:lnTo>
                      <a:pt x="71" y="124"/>
                    </a:lnTo>
                    <a:lnTo>
                      <a:pt x="71" y="124"/>
                    </a:lnTo>
                    <a:lnTo>
                      <a:pt x="62" y="115"/>
                    </a:lnTo>
                    <a:lnTo>
                      <a:pt x="53" y="106"/>
                    </a:lnTo>
                    <a:lnTo>
                      <a:pt x="53" y="106"/>
                    </a:lnTo>
                    <a:lnTo>
                      <a:pt x="53" y="97"/>
                    </a:lnTo>
                    <a:lnTo>
                      <a:pt x="44" y="97"/>
                    </a:lnTo>
                    <a:lnTo>
                      <a:pt x="44" y="88"/>
                    </a:lnTo>
                    <a:lnTo>
                      <a:pt x="53" y="80"/>
                    </a:lnTo>
                    <a:lnTo>
                      <a:pt x="53" y="71"/>
                    </a:lnTo>
                    <a:lnTo>
                      <a:pt x="53" y="80"/>
                    </a:lnTo>
                    <a:lnTo>
                      <a:pt x="53" y="71"/>
                    </a:lnTo>
                    <a:lnTo>
                      <a:pt x="53" y="71"/>
                    </a:lnTo>
                    <a:lnTo>
                      <a:pt x="53" y="62"/>
                    </a:lnTo>
                    <a:lnTo>
                      <a:pt x="44" y="62"/>
                    </a:lnTo>
                    <a:lnTo>
                      <a:pt x="44" y="62"/>
                    </a:lnTo>
                    <a:lnTo>
                      <a:pt x="27" y="53"/>
                    </a:lnTo>
                    <a:lnTo>
                      <a:pt x="27" y="53"/>
                    </a:lnTo>
                    <a:lnTo>
                      <a:pt x="27" y="44"/>
                    </a:lnTo>
                    <a:lnTo>
                      <a:pt x="18" y="44"/>
                    </a:lnTo>
                    <a:lnTo>
                      <a:pt x="18" y="35"/>
                    </a:lnTo>
                    <a:lnTo>
                      <a:pt x="18" y="35"/>
                    </a:lnTo>
                    <a:lnTo>
                      <a:pt x="9" y="27"/>
                    </a:lnTo>
                    <a:lnTo>
                      <a:pt x="9" y="18"/>
                    </a:lnTo>
                    <a:lnTo>
                      <a:pt x="0" y="9"/>
                    </a:lnTo>
                    <a:lnTo>
                      <a:pt x="0" y="9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64" name="Freeform 95"/>
              <p:cNvSpPr>
                <a:spLocks/>
              </p:cNvSpPr>
              <p:nvPr/>
            </p:nvSpPr>
            <p:spPr bwMode="auto">
              <a:xfrm>
                <a:off x="3456730" y="3243266"/>
                <a:ext cx="295159" cy="523236"/>
              </a:xfrm>
              <a:custGeom>
                <a:avLst/>
                <a:gdLst/>
                <a:ahLst/>
                <a:cxnLst>
                  <a:cxn ang="0">
                    <a:pos x="17" y="168"/>
                  </a:cxn>
                  <a:cxn ang="0">
                    <a:pos x="26" y="160"/>
                  </a:cxn>
                  <a:cxn ang="0">
                    <a:pos x="17" y="142"/>
                  </a:cxn>
                  <a:cxn ang="0">
                    <a:pos x="17" y="142"/>
                  </a:cxn>
                  <a:cxn ang="0">
                    <a:pos x="17" y="133"/>
                  </a:cxn>
                  <a:cxn ang="0">
                    <a:pos x="17" y="124"/>
                  </a:cxn>
                  <a:cxn ang="0">
                    <a:pos x="26" y="115"/>
                  </a:cxn>
                  <a:cxn ang="0">
                    <a:pos x="26" y="115"/>
                  </a:cxn>
                  <a:cxn ang="0">
                    <a:pos x="26" y="98"/>
                  </a:cxn>
                  <a:cxn ang="0">
                    <a:pos x="35" y="89"/>
                  </a:cxn>
                  <a:cxn ang="0">
                    <a:pos x="26" y="80"/>
                  </a:cxn>
                  <a:cxn ang="0">
                    <a:pos x="44" y="71"/>
                  </a:cxn>
                  <a:cxn ang="0">
                    <a:pos x="44" y="62"/>
                  </a:cxn>
                  <a:cxn ang="0">
                    <a:pos x="52" y="54"/>
                  </a:cxn>
                  <a:cxn ang="0">
                    <a:pos x="52" y="45"/>
                  </a:cxn>
                  <a:cxn ang="0">
                    <a:pos x="52" y="36"/>
                  </a:cxn>
                  <a:cxn ang="0">
                    <a:pos x="52" y="27"/>
                  </a:cxn>
                  <a:cxn ang="0">
                    <a:pos x="70" y="18"/>
                  </a:cxn>
                  <a:cxn ang="0">
                    <a:pos x="149" y="9"/>
                  </a:cxn>
                  <a:cxn ang="0">
                    <a:pos x="202" y="9"/>
                  </a:cxn>
                  <a:cxn ang="0">
                    <a:pos x="220" y="372"/>
                  </a:cxn>
                  <a:cxn ang="0">
                    <a:pos x="202" y="372"/>
                  </a:cxn>
                  <a:cxn ang="0">
                    <a:pos x="193" y="372"/>
                  </a:cxn>
                  <a:cxn ang="0">
                    <a:pos x="193" y="372"/>
                  </a:cxn>
                  <a:cxn ang="0">
                    <a:pos x="167" y="381"/>
                  </a:cxn>
                  <a:cxn ang="0">
                    <a:pos x="158" y="381"/>
                  </a:cxn>
                  <a:cxn ang="0">
                    <a:pos x="149" y="390"/>
                  </a:cxn>
                  <a:cxn ang="0">
                    <a:pos x="140" y="390"/>
                  </a:cxn>
                  <a:cxn ang="0">
                    <a:pos x="140" y="381"/>
                  </a:cxn>
                  <a:cxn ang="0">
                    <a:pos x="123" y="363"/>
                  </a:cxn>
                  <a:cxn ang="0">
                    <a:pos x="123" y="345"/>
                  </a:cxn>
                  <a:cxn ang="0">
                    <a:pos x="123" y="328"/>
                  </a:cxn>
                  <a:cxn ang="0">
                    <a:pos x="0" y="336"/>
                  </a:cxn>
                  <a:cxn ang="0">
                    <a:pos x="0" y="319"/>
                  </a:cxn>
                  <a:cxn ang="0">
                    <a:pos x="0" y="310"/>
                  </a:cxn>
                  <a:cxn ang="0">
                    <a:pos x="8" y="292"/>
                  </a:cxn>
                  <a:cxn ang="0">
                    <a:pos x="8" y="283"/>
                  </a:cxn>
                  <a:cxn ang="0">
                    <a:pos x="8" y="275"/>
                  </a:cxn>
                  <a:cxn ang="0">
                    <a:pos x="35" y="257"/>
                  </a:cxn>
                  <a:cxn ang="0">
                    <a:pos x="26" y="248"/>
                  </a:cxn>
                  <a:cxn ang="0">
                    <a:pos x="26" y="248"/>
                  </a:cxn>
                  <a:cxn ang="0">
                    <a:pos x="35" y="239"/>
                  </a:cxn>
                  <a:cxn ang="0">
                    <a:pos x="44" y="230"/>
                  </a:cxn>
                  <a:cxn ang="0">
                    <a:pos x="35" y="222"/>
                  </a:cxn>
                  <a:cxn ang="0">
                    <a:pos x="26" y="213"/>
                  </a:cxn>
                  <a:cxn ang="0">
                    <a:pos x="35" y="204"/>
                  </a:cxn>
                  <a:cxn ang="0">
                    <a:pos x="26" y="195"/>
                  </a:cxn>
                  <a:cxn ang="0">
                    <a:pos x="26" y="186"/>
                  </a:cxn>
                  <a:cxn ang="0">
                    <a:pos x="17" y="186"/>
                  </a:cxn>
                </a:cxnLst>
                <a:rect l="0" t="0" r="r" b="b"/>
                <a:pathLst>
                  <a:path w="220" h="390">
                    <a:moveTo>
                      <a:pt x="17" y="177"/>
                    </a:moveTo>
                    <a:lnTo>
                      <a:pt x="17" y="168"/>
                    </a:lnTo>
                    <a:lnTo>
                      <a:pt x="17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0"/>
                    </a:lnTo>
                    <a:lnTo>
                      <a:pt x="17" y="160"/>
                    </a:lnTo>
                    <a:lnTo>
                      <a:pt x="17" y="151"/>
                    </a:lnTo>
                    <a:lnTo>
                      <a:pt x="17" y="142"/>
                    </a:lnTo>
                    <a:lnTo>
                      <a:pt x="17" y="142"/>
                    </a:lnTo>
                    <a:lnTo>
                      <a:pt x="17" y="142"/>
                    </a:lnTo>
                    <a:lnTo>
                      <a:pt x="17" y="142"/>
                    </a:lnTo>
                    <a:lnTo>
                      <a:pt x="17" y="133"/>
                    </a:lnTo>
                    <a:lnTo>
                      <a:pt x="8" y="142"/>
                    </a:lnTo>
                    <a:lnTo>
                      <a:pt x="17" y="133"/>
                    </a:lnTo>
                    <a:lnTo>
                      <a:pt x="8" y="133"/>
                    </a:lnTo>
                    <a:lnTo>
                      <a:pt x="17" y="124"/>
                    </a:lnTo>
                    <a:lnTo>
                      <a:pt x="17" y="124"/>
                    </a:lnTo>
                    <a:lnTo>
                      <a:pt x="17" y="124"/>
                    </a:lnTo>
                    <a:lnTo>
                      <a:pt x="17" y="124"/>
                    </a:lnTo>
                    <a:lnTo>
                      <a:pt x="26" y="115"/>
                    </a:lnTo>
                    <a:lnTo>
                      <a:pt x="17" y="115"/>
                    </a:lnTo>
                    <a:lnTo>
                      <a:pt x="17" y="115"/>
                    </a:lnTo>
                    <a:lnTo>
                      <a:pt x="26" y="115"/>
                    </a:lnTo>
                    <a:lnTo>
                      <a:pt x="26" y="115"/>
                    </a:lnTo>
                    <a:lnTo>
                      <a:pt x="26" y="107"/>
                    </a:lnTo>
                    <a:lnTo>
                      <a:pt x="26" y="98"/>
                    </a:lnTo>
                    <a:lnTo>
                      <a:pt x="17" y="98"/>
                    </a:lnTo>
                    <a:lnTo>
                      <a:pt x="35" y="98"/>
                    </a:lnTo>
                    <a:lnTo>
                      <a:pt x="35" y="89"/>
                    </a:lnTo>
                    <a:lnTo>
                      <a:pt x="35" y="80"/>
                    </a:lnTo>
                    <a:lnTo>
                      <a:pt x="35" y="80"/>
                    </a:lnTo>
                    <a:lnTo>
                      <a:pt x="26" y="80"/>
                    </a:lnTo>
                    <a:lnTo>
                      <a:pt x="35" y="80"/>
                    </a:lnTo>
                    <a:lnTo>
                      <a:pt x="35" y="80"/>
                    </a:lnTo>
                    <a:lnTo>
                      <a:pt x="44" y="71"/>
                    </a:lnTo>
                    <a:lnTo>
                      <a:pt x="44" y="71"/>
                    </a:lnTo>
                    <a:lnTo>
                      <a:pt x="44" y="71"/>
                    </a:lnTo>
                    <a:lnTo>
                      <a:pt x="44" y="62"/>
                    </a:lnTo>
                    <a:lnTo>
                      <a:pt x="52" y="62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45"/>
                    </a:lnTo>
                    <a:lnTo>
                      <a:pt x="52" y="36"/>
                    </a:lnTo>
                    <a:lnTo>
                      <a:pt x="52" y="45"/>
                    </a:lnTo>
                    <a:lnTo>
                      <a:pt x="52" y="45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2" y="27"/>
                    </a:lnTo>
                    <a:lnTo>
                      <a:pt x="61" y="27"/>
                    </a:lnTo>
                    <a:lnTo>
                      <a:pt x="61" y="27"/>
                    </a:lnTo>
                    <a:lnTo>
                      <a:pt x="70" y="18"/>
                    </a:lnTo>
                    <a:lnTo>
                      <a:pt x="70" y="18"/>
                    </a:lnTo>
                    <a:lnTo>
                      <a:pt x="61" y="18"/>
                    </a:lnTo>
                    <a:lnTo>
                      <a:pt x="149" y="9"/>
                    </a:lnTo>
                    <a:lnTo>
                      <a:pt x="202" y="0"/>
                    </a:lnTo>
                    <a:lnTo>
                      <a:pt x="202" y="0"/>
                    </a:lnTo>
                    <a:lnTo>
                      <a:pt x="202" y="9"/>
                    </a:lnTo>
                    <a:lnTo>
                      <a:pt x="211" y="9"/>
                    </a:lnTo>
                    <a:lnTo>
                      <a:pt x="202" y="248"/>
                    </a:lnTo>
                    <a:lnTo>
                      <a:pt x="220" y="372"/>
                    </a:lnTo>
                    <a:lnTo>
                      <a:pt x="220" y="372"/>
                    </a:lnTo>
                    <a:lnTo>
                      <a:pt x="220" y="372"/>
                    </a:lnTo>
                    <a:lnTo>
                      <a:pt x="202" y="372"/>
                    </a:lnTo>
                    <a:lnTo>
                      <a:pt x="202" y="372"/>
                    </a:lnTo>
                    <a:lnTo>
                      <a:pt x="202" y="372"/>
                    </a:lnTo>
                    <a:lnTo>
                      <a:pt x="193" y="372"/>
                    </a:lnTo>
                    <a:lnTo>
                      <a:pt x="193" y="372"/>
                    </a:lnTo>
                    <a:lnTo>
                      <a:pt x="184" y="372"/>
                    </a:lnTo>
                    <a:lnTo>
                      <a:pt x="193" y="372"/>
                    </a:lnTo>
                    <a:lnTo>
                      <a:pt x="184" y="372"/>
                    </a:lnTo>
                    <a:lnTo>
                      <a:pt x="176" y="372"/>
                    </a:lnTo>
                    <a:lnTo>
                      <a:pt x="167" y="381"/>
                    </a:lnTo>
                    <a:lnTo>
                      <a:pt x="158" y="381"/>
                    </a:lnTo>
                    <a:lnTo>
                      <a:pt x="158" y="381"/>
                    </a:lnTo>
                    <a:lnTo>
                      <a:pt x="158" y="381"/>
                    </a:lnTo>
                    <a:lnTo>
                      <a:pt x="158" y="381"/>
                    </a:lnTo>
                    <a:lnTo>
                      <a:pt x="158" y="381"/>
                    </a:lnTo>
                    <a:lnTo>
                      <a:pt x="149" y="390"/>
                    </a:lnTo>
                    <a:lnTo>
                      <a:pt x="149" y="390"/>
                    </a:lnTo>
                    <a:lnTo>
                      <a:pt x="149" y="390"/>
                    </a:lnTo>
                    <a:lnTo>
                      <a:pt x="140" y="390"/>
                    </a:lnTo>
                    <a:lnTo>
                      <a:pt x="140" y="390"/>
                    </a:lnTo>
                    <a:lnTo>
                      <a:pt x="140" y="381"/>
                    </a:lnTo>
                    <a:lnTo>
                      <a:pt x="140" y="381"/>
                    </a:lnTo>
                    <a:lnTo>
                      <a:pt x="132" y="381"/>
                    </a:lnTo>
                    <a:lnTo>
                      <a:pt x="132" y="372"/>
                    </a:lnTo>
                    <a:lnTo>
                      <a:pt x="123" y="363"/>
                    </a:lnTo>
                    <a:lnTo>
                      <a:pt x="123" y="363"/>
                    </a:lnTo>
                    <a:lnTo>
                      <a:pt x="123" y="354"/>
                    </a:lnTo>
                    <a:lnTo>
                      <a:pt x="123" y="345"/>
                    </a:lnTo>
                    <a:lnTo>
                      <a:pt x="123" y="336"/>
                    </a:lnTo>
                    <a:lnTo>
                      <a:pt x="123" y="328"/>
                    </a:lnTo>
                    <a:lnTo>
                      <a:pt x="123" y="328"/>
                    </a:lnTo>
                    <a:lnTo>
                      <a:pt x="61" y="336"/>
                    </a:lnTo>
                    <a:lnTo>
                      <a:pt x="0" y="336"/>
                    </a:lnTo>
                    <a:lnTo>
                      <a:pt x="0" y="336"/>
                    </a:lnTo>
                    <a:lnTo>
                      <a:pt x="0" y="328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8" y="310"/>
                    </a:lnTo>
                    <a:lnTo>
                      <a:pt x="0" y="310"/>
                    </a:lnTo>
                    <a:lnTo>
                      <a:pt x="8" y="310"/>
                    </a:lnTo>
                    <a:lnTo>
                      <a:pt x="0" y="292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83"/>
                    </a:lnTo>
                    <a:lnTo>
                      <a:pt x="8" y="283"/>
                    </a:lnTo>
                    <a:lnTo>
                      <a:pt x="17" y="275"/>
                    </a:lnTo>
                    <a:lnTo>
                      <a:pt x="8" y="275"/>
                    </a:lnTo>
                    <a:lnTo>
                      <a:pt x="17" y="266"/>
                    </a:lnTo>
                    <a:lnTo>
                      <a:pt x="17" y="266"/>
                    </a:lnTo>
                    <a:lnTo>
                      <a:pt x="35" y="257"/>
                    </a:lnTo>
                    <a:lnTo>
                      <a:pt x="26" y="257"/>
                    </a:lnTo>
                    <a:lnTo>
                      <a:pt x="26" y="248"/>
                    </a:lnTo>
                    <a:lnTo>
                      <a:pt x="26" y="248"/>
                    </a:lnTo>
                    <a:lnTo>
                      <a:pt x="35" y="248"/>
                    </a:lnTo>
                    <a:lnTo>
                      <a:pt x="35" y="239"/>
                    </a:lnTo>
                    <a:lnTo>
                      <a:pt x="26" y="248"/>
                    </a:lnTo>
                    <a:lnTo>
                      <a:pt x="26" y="239"/>
                    </a:lnTo>
                    <a:lnTo>
                      <a:pt x="26" y="239"/>
                    </a:lnTo>
                    <a:lnTo>
                      <a:pt x="35" y="239"/>
                    </a:lnTo>
                    <a:lnTo>
                      <a:pt x="35" y="230"/>
                    </a:lnTo>
                    <a:lnTo>
                      <a:pt x="44" y="230"/>
                    </a:lnTo>
                    <a:lnTo>
                      <a:pt x="44" y="230"/>
                    </a:lnTo>
                    <a:lnTo>
                      <a:pt x="44" y="230"/>
                    </a:lnTo>
                    <a:lnTo>
                      <a:pt x="35" y="230"/>
                    </a:lnTo>
                    <a:lnTo>
                      <a:pt x="35" y="222"/>
                    </a:lnTo>
                    <a:lnTo>
                      <a:pt x="26" y="222"/>
                    </a:lnTo>
                    <a:lnTo>
                      <a:pt x="26" y="213"/>
                    </a:lnTo>
                    <a:lnTo>
                      <a:pt x="26" y="213"/>
                    </a:lnTo>
                    <a:lnTo>
                      <a:pt x="35" y="222"/>
                    </a:lnTo>
                    <a:lnTo>
                      <a:pt x="26" y="213"/>
                    </a:lnTo>
                    <a:lnTo>
                      <a:pt x="35" y="204"/>
                    </a:lnTo>
                    <a:lnTo>
                      <a:pt x="26" y="213"/>
                    </a:lnTo>
                    <a:lnTo>
                      <a:pt x="26" y="204"/>
                    </a:lnTo>
                    <a:lnTo>
                      <a:pt x="26" y="195"/>
                    </a:lnTo>
                    <a:lnTo>
                      <a:pt x="26" y="195"/>
                    </a:lnTo>
                    <a:lnTo>
                      <a:pt x="17" y="195"/>
                    </a:lnTo>
                    <a:lnTo>
                      <a:pt x="26" y="186"/>
                    </a:lnTo>
                    <a:lnTo>
                      <a:pt x="26" y="177"/>
                    </a:lnTo>
                    <a:lnTo>
                      <a:pt x="17" y="177"/>
                    </a:lnTo>
                    <a:lnTo>
                      <a:pt x="17" y="186"/>
                    </a:lnTo>
                    <a:lnTo>
                      <a:pt x="17" y="177"/>
                    </a:lnTo>
                    <a:lnTo>
                      <a:pt x="17" y="177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65" name="Freeform 96"/>
              <p:cNvSpPr>
                <a:spLocks/>
              </p:cNvSpPr>
              <p:nvPr/>
            </p:nvSpPr>
            <p:spPr bwMode="auto">
              <a:xfrm>
                <a:off x="3456730" y="3243266"/>
                <a:ext cx="295159" cy="523236"/>
              </a:xfrm>
              <a:custGeom>
                <a:avLst/>
                <a:gdLst/>
                <a:ahLst/>
                <a:cxnLst>
                  <a:cxn ang="0">
                    <a:pos x="17" y="168"/>
                  </a:cxn>
                  <a:cxn ang="0">
                    <a:pos x="26" y="160"/>
                  </a:cxn>
                  <a:cxn ang="0">
                    <a:pos x="17" y="142"/>
                  </a:cxn>
                  <a:cxn ang="0">
                    <a:pos x="17" y="142"/>
                  </a:cxn>
                  <a:cxn ang="0">
                    <a:pos x="17" y="133"/>
                  </a:cxn>
                  <a:cxn ang="0">
                    <a:pos x="17" y="124"/>
                  </a:cxn>
                  <a:cxn ang="0">
                    <a:pos x="26" y="115"/>
                  </a:cxn>
                  <a:cxn ang="0">
                    <a:pos x="26" y="115"/>
                  </a:cxn>
                  <a:cxn ang="0">
                    <a:pos x="26" y="98"/>
                  </a:cxn>
                  <a:cxn ang="0">
                    <a:pos x="35" y="89"/>
                  </a:cxn>
                  <a:cxn ang="0">
                    <a:pos x="26" y="80"/>
                  </a:cxn>
                  <a:cxn ang="0">
                    <a:pos x="44" y="71"/>
                  </a:cxn>
                  <a:cxn ang="0">
                    <a:pos x="44" y="62"/>
                  </a:cxn>
                  <a:cxn ang="0">
                    <a:pos x="52" y="54"/>
                  </a:cxn>
                  <a:cxn ang="0">
                    <a:pos x="52" y="45"/>
                  </a:cxn>
                  <a:cxn ang="0">
                    <a:pos x="52" y="36"/>
                  </a:cxn>
                  <a:cxn ang="0">
                    <a:pos x="52" y="27"/>
                  </a:cxn>
                  <a:cxn ang="0">
                    <a:pos x="70" y="18"/>
                  </a:cxn>
                  <a:cxn ang="0">
                    <a:pos x="149" y="9"/>
                  </a:cxn>
                  <a:cxn ang="0">
                    <a:pos x="202" y="9"/>
                  </a:cxn>
                  <a:cxn ang="0">
                    <a:pos x="220" y="372"/>
                  </a:cxn>
                  <a:cxn ang="0">
                    <a:pos x="202" y="372"/>
                  </a:cxn>
                  <a:cxn ang="0">
                    <a:pos x="193" y="372"/>
                  </a:cxn>
                  <a:cxn ang="0">
                    <a:pos x="193" y="372"/>
                  </a:cxn>
                  <a:cxn ang="0">
                    <a:pos x="167" y="381"/>
                  </a:cxn>
                  <a:cxn ang="0">
                    <a:pos x="158" y="381"/>
                  </a:cxn>
                  <a:cxn ang="0">
                    <a:pos x="149" y="390"/>
                  </a:cxn>
                  <a:cxn ang="0">
                    <a:pos x="140" y="390"/>
                  </a:cxn>
                  <a:cxn ang="0">
                    <a:pos x="140" y="381"/>
                  </a:cxn>
                  <a:cxn ang="0">
                    <a:pos x="123" y="363"/>
                  </a:cxn>
                  <a:cxn ang="0">
                    <a:pos x="123" y="345"/>
                  </a:cxn>
                  <a:cxn ang="0">
                    <a:pos x="123" y="328"/>
                  </a:cxn>
                  <a:cxn ang="0">
                    <a:pos x="0" y="336"/>
                  </a:cxn>
                  <a:cxn ang="0">
                    <a:pos x="0" y="319"/>
                  </a:cxn>
                  <a:cxn ang="0">
                    <a:pos x="0" y="310"/>
                  </a:cxn>
                  <a:cxn ang="0">
                    <a:pos x="8" y="292"/>
                  </a:cxn>
                  <a:cxn ang="0">
                    <a:pos x="8" y="283"/>
                  </a:cxn>
                  <a:cxn ang="0">
                    <a:pos x="8" y="275"/>
                  </a:cxn>
                  <a:cxn ang="0">
                    <a:pos x="35" y="257"/>
                  </a:cxn>
                  <a:cxn ang="0">
                    <a:pos x="26" y="248"/>
                  </a:cxn>
                  <a:cxn ang="0">
                    <a:pos x="26" y="248"/>
                  </a:cxn>
                  <a:cxn ang="0">
                    <a:pos x="35" y="239"/>
                  </a:cxn>
                  <a:cxn ang="0">
                    <a:pos x="44" y="230"/>
                  </a:cxn>
                  <a:cxn ang="0">
                    <a:pos x="35" y="222"/>
                  </a:cxn>
                  <a:cxn ang="0">
                    <a:pos x="26" y="213"/>
                  </a:cxn>
                  <a:cxn ang="0">
                    <a:pos x="35" y="204"/>
                  </a:cxn>
                  <a:cxn ang="0">
                    <a:pos x="26" y="195"/>
                  </a:cxn>
                  <a:cxn ang="0">
                    <a:pos x="26" y="186"/>
                  </a:cxn>
                  <a:cxn ang="0">
                    <a:pos x="17" y="186"/>
                  </a:cxn>
                </a:cxnLst>
                <a:rect l="0" t="0" r="r" b="b"/>
                <a:pathLst>
                  <a:path w="220" h="390">
                    <a:moveTo>
                      <a:pt x="17" y="177"/>
                    </a:moveTo>
                    <a:lnTo>
                      <a:pt x="17" y="168"/>
                    </a:lnTo>
                    <a:lnTo>
                      <a:pt x="17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0"/>
                    </a:lnTo>
                    <a:lnTo>
                      <a:pt x="17" y="160"/>
                    </a:lnTo>
                    <a:lnTo>
                      <a:pt x="17" y="151"/>
                    </a:lnTo>
                    <a:lnTo>
                      <a:pt x="17" y="142"/>
                    </a:lnTo>
                    <a:lnTo>
                      <a:pt x="17" y="142"/>
                    </a:lnTo>
                    <a:lnTo>
                      <a:pt x="17" y="142"/>
                    </a:lnTo>
                    <a:lnTo>
                      <a:pt x="17" y="142"/>
                    </a:lnTo>
                    <a:lnTo>
                      <a:pt x="17" y="133"/>
                    </a:lnTo>
                    <a:lnTo>
                      <a:pt x="8" y="142"/>
                    </a:lnTo>
                    <a:lnTo>
                      <a:pt x="17" y="133"/>
                    </a:lnTo>
                    <a:lnTo>
                      <a:pt x="8" y="133"/>
                    </a:lnTo>
                    <a:lnTo>
                      <a:pt x="17" y="124"/>
                    </a:lnTo>
                    <a:lnTo>
                      <a:pt x="17" y="124"/>
                    </a:lnTo>
                    <a:lnTo>
                      <a:pt x="17" y="124"/>
                    </a:lnTo>
                    <a:lnTo>
                      <a:pt x="17" y="124"/>
                    </a:lnTo>
                    <a:lnTo>
                      <a:pt x="26" y="115"/>
                    </a:lnTo>
                    <a:lnTo>
                      <a:pt x="17" y="115"/>
                    </a:lnTo>
                    <a:lnTo>
                      <a:pt x="17" y="115"/>
                    </a:lnTo>
                    <a:lnTo>
                      <a:pt x="26" y="115"/>
                    </a:lnTo>
                    <a:lnTo>
                      <a:pt x="26" y="115"/>
                    </a:lnTo>
                    <a:lnTo>
                      <a:pt x="26" y="107"/>
                    </a:lnTo>
                    <a:lnTo>
                      <a:pt x="26" y="98"/>
                    </a:lnTo>
                    <a:lnTo>
                      <a:pt x="17" y="98"/>
                    </a:lnTo>
                    <a:lnTo>
                      <a:pt x="35" y="98"/>
                    </a:lnTo>
                    <a:lnTo>
                      <a:pt x="35" y="89"/>
                    </a:lnTo>
                    <a:lnTo>
                      <a:pt x="35" y="80"/>
                    </a:lnTo>
                    <a:lnTo>
                      <a:pt x="35" y="80"/>
                    </a:lnTo>
                    <a:lnTo>
                      <a:pt x="26" y="80"/>
                    </a:lnTo>
                    <a:lnTo>
                      <a:pt x="35" y="80"/>
                    </a:lnTo>
                    <a:lnTo>
                      <a:pt x="35" y="80"/>
                    </a:lnTo>
                    <a:lnTo>
                      <a:pt x="44" y="71"/>
                    </a:lnTo>
                    <a:lnTo>
                      <a:pt x="44" y="71"/>
                    </a:lnTo>
                    <a:lnTo>
                      <a:pt x="44" y="71"/>
                    </a:lnTo>
                    <a:lnTo>
                      <a:pt x="44" y="62"/>
                    </a:lnTo>
                    <a:lnTo>
                      <a:pt x="52" y="62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45"/>
                    </a:lnTo>
                    <a:lnTo>
                      <a:pt x="52" y="36"/>
                    </a:lnTo>
                    <a:lnTo>
                      <a:pt x="52" y="45"/>
                    </a:lnTo>
                    <a:lnTo>
                      <a:pt x="52" y="45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2" y="27"/>
                    </a:lnTo>
                    <a:lnTo>
                      <a:pt x="61" y="27"/>
                    </a:lnTo>
                    <a:lnTo>
                      <a:pt x="61" y="27"/>
                    </a:lnTo>
                    <a:lnTo>
                      <a:pt x="70" y="18"/>
                    </a:lnTo>
                    <a:lnTo>
                      <a:pt x="70" y="18"/>
                    </a:lnTo>
                    <a:lnTo>
                      <a:pt x="61" y="18"/>
                    </a:lnTo>
                    <a:lnTo>
                      <a:pt x="149" y="9"/>
                    </a:lnTo>
                    <a:lnTo>
                      <a:pt x="202" y="0"/>
                    </a:lnTo>
                    <a:lnTo>
                      <a:pt x="202" y="0"/>
                    </a:lnTo>
                    <a:lnTo>
                      <a:pt x="202" y="9"/>
                    </a:lnTo>
                    <a:lnTo>
                      <a:pt x="211" y="9"/>
                    </a:lnTo>
                    <a:lnTo>
                      <a:pt x="202" y="248"/>
                    </a:lnTo>
                    <a:lnTo>
                      <a:pt x="220" y="372"/>
                    </a:lnTo>
                    <a:lnTo>
                      <a:pt x="220" y="372"/>
                    </a:lnTo>
                    <a:lnTo>
                      <a:pt x="220" y="372"/>
                    </a:lnTo>
                    <a:lnTo>
                      <a:pt x="202" y="372"/>
                    </a:lnTo>
                    <a:lnTo>
                      <a:pt x="202" y="372"/>
                    </a:lnTo>
                    <a:lnTo>
                      <a:pt x="202" y="372"/>
                    </a:lnTo>
                    <a:lnTo>
                      <a:pt x="193" y="372"/>
                    </a:lnTo>
                    <a:lnTo>
                      <a:pt x="193" y="372"/>
                    </a:lnTo>
                    <a:lnTo>
                      <a:pt x="184" y="372"/>
                    </a:lnTo>
                    <a:lnTo>
                      <a:pt x="193" y="372"/>
                    </a:lnTo>
                    <a:lnTo>
                      <a:pt x="184" y="372"/>
                    </a:lnTo>
                    <a:lnTo>
                      <a:pt x="176" y="372"/>
                    </a:lnTo>
                    <a:lnTo>
                      <a:pt x="167" y="381"/>
                    </a:lnTo>
                    <a:lnTo>
                      <a:pt x="158" y="381"/>
                    </a:lnTo>
                    <a:lnTo>
                      <a:pt x="158" y="381"/>
                    </a:lnTo>
                    <a:lnTo>
                      <a:pt x="158" y="381"/>
                    </a:lnTo>
                    <a:lnTo>
                      <a:pt x="158" y="381"/>
                    </a:lnTo>
                    <a:lnTo>
                      <a:pt x="158" y="381"/>
                    </a:lnTo>
                    <a:lnTo>
                      <a:pt x="149" y="390"/>
                    </a:lnTo>
                    <a:lnTo>
                      <a:pt x="149" y="390"/>
                    </a:lnTo>
                    <a:lnTo>
                      <a:pt x="149" y="390"/>
                    </a:lnTo>
                    <a:lnTo>
                      <a:pt x="140" y="390"/>
                    </a:lnTo>
                    <a:lnTo>
                      <a:pt x="140" y="390"/>
                    </a:lnTo>
                    <a:lnTo>
                      <a:pt x="140" y="381"/>
                    </a:lnTo>
                    <a:lnTo>
                      <a:pt x="140" y="381"/>
                    </a:lnTo>
                    <a:lnTo>
                      <a:pt x="132" y="381"/>
                    </a:lnTo>
                    <a:lnTo>
                      <a:pt x="132" y="372"/>
                    </a:lnTo>
                    <a:lnTo>
                      <a:pt x="123" y="363"/>
                    </a:lnTo>
                    <a:lnTo>
                      <a:pt x="123" y="363"/>
                    </a:lnTo>
                    <a:lnTo>
                      <a:pt x="123" y="354"/>
                    </a:lnTo>
                    <a:lnTo>
                      <a:pt x="123" y="345"/>
                    </a:lnTo>
                    <a:lnTo>
                      <a:pt x="123" y="336"/>
                    </a:lnTo>
                    <a:lnTo>
                      <a:pt x="123" y="328"/>
                    </a:lnTo>
                    <a:lnTo>
                      <a:pt x="123" y="328"/>
                    </a:lnTo>
                    <a:lnTo>
                      <a:pt x="61" y="336"/>
                    </a:lnTo>
                    <a:lnTo>
                      <a:pt x="0" y="336"/>
                    </a:lnTo>
                    <a:lnTo>
                      <a:pt x="0" y="336"/>
                    </a:lnTo>
                    <a:lnTo>
                      <a:pt x="0" y="328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0" y="319"/>
                    </a:lnTo>
                    <a:lnTo>
                      <a:pt x="8" y="310"/>
                    </a:lnTo>
                    <a:lnTo>
                      <a:pt x="0" y="310"/>
                    </a:lnTo>
                    <a:lnTo>
                      <a:pt x="8" y="310"/>
                    </a:lnTo>
                    <a:lnTo>
                      <a:pt x="0" y="292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83"/>
                    </a:lnTo>
                    <a:lnTo>
                      <a:pt x="8" y="283"/>
                    </a:lnTo>
                    <a:lnTo>
                      <a:pt x="17" y="275"/>
                    </a:lnTo>
                    <a:lnTo>
                      <a:pt x="8" y="275"/>
                    </a:lnTo>
                    <a:lnTo>
                      <a:pt x="17" y="266"/>
                    </a:lnTo>
                    <a:lnTo>
                      <a:pt x="17" y="266"/>
                    </a:lnTo>
                    <a:lnTo>
                      <a:pt x="35" y="257"/>
                    </a:lnTo>
                    <a:lnTo>
                      <a:pt x="26" y="257"/>
                    </a:lnTo>
                    <a:lnTo>
                      <a:pt x="26" y="248"/>
                    </a:lnTo>
                    <a:lnTo>
                      <a:pt x="26" y="248"/>
                    </a:lnTo>
                    <a:lnTo>
                      <a:pt x="35" y="248"/>
                    </a:lnTo>
                    <a:lnTo>
                      <a:pt x="35" y="239"/>
                    </a:lnTo>
                    <a:lnTo>
                      <a:pt x="26" y="248"/>
                    </a:lnTo>
                    <a:lnTo>
                      <a:pt x="26" y="239"/>
                    </a:lnTo>
                    <a:lnTo>
                      <a:pt x="26" y="239"/>
                    </a:lnTo>
                    <a:lnTo>
                      <a:pt x="35" y="239"/>
                    </a:lnTo>
                    <a:lnTo>
                      <a:pt x="35" y="230"/>
                    </a:lnTo>
                    <a:lnTo>
                      <a:pt x="44" y="230"/>
                    </a:lnTo>
                    <a:lnTo>
                      <a:pt x="44" y="230"/>
                    </a:lnTo>
                    <a:lnTo>
                      <a:pt x="44" y="230"/>
                    </a:lnTo>
                    <a:lnTo>
                      <a:pt x="35" y="230"/>
                    </a:lnTo>
                    <a:lnTo>
                      <a:pt x="35" y="222"/>
                    </a:lnTo>
                    <a:lnTo>
                      <a:pt x="26" y="222"/>
                    </a:lnTo>
                    <a:lnTo>
                      <a:pt x="26" y="213"/>
                    </a:lnTo>
                    <a:lnTo>
                      <a:pt x="26" y="213"/>
                    </a:lnTo>
                    <a:lnTo>
                      <a:pt x="35" y="222"/>
                    </a:lnTo>
                    <a:lnTo>
                      <a:pt x="26" y="213"/>
                    </a:lnTo>
                    <a:lnTo>
                      <a:pt x="35" y="204"/>
                    </a:lnTo>
                    <a:lnTo>
                      <a:pt x="26" y="213"/>
                    </a:lnTo>
                    <a:lnTo>
                      <a:pt x="26" y="204"/>
                    </a:lnTo>
                    <a:lnTo>
                      <a:pt x="26" y="195"/>
                    </a:lnTo>
                    <a:lnTo>
                      <a:pt x="26" y="195"/>
                    </a:lnTo>
                    <a:lnTo>
                      <a:pt x="17" y="195"/>
                    </a:lnTo>
                    <a:lnTo>
                      <a:pt x="26" y="186"/>
                    </a:lnTo>
                    <a:lnTo>
                      <a:pt x="26" y="177"/>
                    </a:lnTo>
                    <a:lnTo>
                      <a:pt x="17" y="177"/>
                    </a:lnTo>
                    <a:lnTo>
                      <a:pt x="17" y="186"/>
                    </a:lnTo>
                    <a:lnTo>
                      <a:pt x="17" y="177"/>
                    </a:lnTo>
                    <a:lnTo>
                      <a:pt x="17" y="177"/>
                    </a:lnTo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66" name="Rectangle 97"/>
              <p:cNvSpPr>
                <a:spLocks noChangeArrowheads="1"/>
              </p:cNvSpPr>
              <p:nvPr/>
            </p:nvSpPr>
            <p:spPr bwMode="auto">
              <a:xfrm>
                <a:off x="3668708" y="3777236"/>
                <a:ext cx="12075" cy="1342"/>
              </a:xfrm>
              <a:prstGeom prst="rect">
                <a:avLst/>
              </a:prstGeom>
              <a:grpFill/>
              <a:ln w="9525">
                <a:solidFill>
                  <a:srgbClr val="FFFFFF">
                    <a:lumMod val="65000"/>
                  </a:srgb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67" name="Rectangle 98"/>
              <p:cNvSpPr>
                <a:spLocks noChangeArrowheads="1"/>
              </p:cNvSpPr>
              <p:nvPr/>
            </p:nvSpPr>
            <p:spPr bwMode="auto">
              <a:xfrm>
                <a:off x="3668708" y="3777236"/>
                <a:ext cx="12075" cy="1342"/>
              </a:xfrm>
              <a:prstGeom prst="rect">
                <a:avLst/>
              </a:prstGeom>
              <a:grpFill/>
              <a:ln w="9525">
                <a:solidFill>
                  <a:srgbClr val="FFFFFF">
                    <a:lumMod val="65000"/>
                  </a:srgb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68" name="Freeform 99"/>
              <p:cNvSpPr>
                <a:spLocks/>
              </p:cNvSpPr>
              <p:nvPr/>
            </p:nvSpPr>
            <p:spPr bwMode="auto">
              <a:xfrm>
                <a:off x="3727740" y="3754429"/>
                <a:ext cx="12075" cy="13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9">
                    <a:moveTo>
                      <a:pt x="0" y="0"/>
                    </a:moveTo>
                    <a:lnTo>
                      <a:pt x="9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69" name="Freeform 100"/>
              <p:cNvSpPr>
                <a:spLocks/>
              </p:cNvSpPr>
              <p:nvPr/>
            </p:nvSpPr>
            <p:spPr bwMode="auto">
              <a:xfrm>
                <a:off x="3727740" y="3754429"/>
                <a:ext cx="12075" cy="13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9">
                    <a:moveTo>
                      <a:pt x="0" y="0"/>
                    </a:moveTo>
                    <a:lnTo>
                      <a:pt x="9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70" name="Freeform 101"/>
              <p:cNvSpPr>
                <a:spLocks/>
              </p:cNvSpPr>
              <p:nvPr/>
            </p:nvSpPr>
            <p:spPr bwMode="auto">
              <a:xfrm>
                <a:off x="2948252" y="1748689"/>
                <a:ext cx="555436" cy="629226"/>
              </a:xfrm>
              <a:custGeom>
                <a:avLst/>
                <a:gdLst/>
                <a:ahLst/>
                <a:cxnLst>
                  <a:cxn ang="0">
                    <a:pos x="115" y="36"/>
                  </a:cxn>
                  <a:cxn ang="0">
                    <a:pos x="115" y="0"/>
                  </a:cxn>
                  <a:cxn ang="0">
                    <a:pos x="132" y="27"/>
                  </a:cxn>
                  <a:cxn ang="0">
                    <a:pos x="141" y="53"/>
                  </a:cxn>
                  <a:cxn ang="0">
                    <a:pos x="159" y="53"/>
                  </a:cxn>
                  <a:cxn ang="0">
                    <a:pos x="194" y="71"/>
                  </a:cxn>
                  <a:cxn ang="0">
                    <a:pos x="211" y="62"/>
                  </a:cxn>
                  <a:cxn ang="0">
                    <a:pos x="220" y="53"/>
                  </a:cxn>
                  <a:cxn ang="0">
                    <a:pos x="247" y="71"/>
                  </a:cxn>
                  <a:cxn ang="0">
                    <a:pos x="255" y="80"/>
                  </a:cxn>
                  <a:cxn ang="0">
                    <a:pos x="264" y="80"/>
                  </a:cxn>
                  <a:cxn ang="0">
                    <a:pos x="282" y="80"/>
                  </a:cxn>
                  <a:cxn ang="0">
                    <a:pos x="308" y="98"/>
                  </a:cxn>
                  <a:cxn ang="0">
                    <a:pos x="326" y="89"/>
                  </a:cxn>
                  <a:cxn ang="0">
                    <a:pos x="343" y="89"/>
                  </a:cxn>
                  <a:cxn ang="0">
                    <a:pos x="352" y="89"/>
                  </a:cxn>
                  <a:cxn ang="0">
                    <a:pos x="370" y="89"/>
                  </a:cxn>
                  <a:cxn ang="0">
                    <a:pos x="387" y="98"/>
                  </a:cxn>
                  <a:cxn ang="0">
                    <a:pos x="414" y="98"/>
                  </a:cxn>
                  <a:cxn ang="0">
                    <a:pos x="396" y="106"/>
                  </a:cxn>
                  <a:cxn ang="0">
                    <a:pos x="361" y="124"/>
                  </a:cxn>
                  <a:cxn ang="0">
                    <a:pos x="326" y="160"/>
                  </a:cxn>
                  <a:cxn ang="0">
                    <a:pos x="308" y="177"/>
                  </a:cxn>
                  <a:cxn ang="0">
                    <a:pos x="282" y="204"/>
                  </a:cxn>
                  <a:cxn ang="0">
                    <a:pos x="273" y="213"/>
                  </a:cxn>
                  <a:cxn ang="0">
                    <a:pos x="273" y="257"/>
                  </a:cxn>
                  <a:cxn ang="0">
                    <a:pos x="247" y="274"/>
                  </a:cxn>
                  <a:cxn ang="0">
                    <a:pos x="247" y="283"/>
                  </a:cxn>
                  <a:cxn ang="0">
                    <a:pos x="255" y="301"/>
                  </a:cxn>
                  <a:cxn ang="0">
                    <a:pos x="255" y="328"/>
                  </a:cxn>
                  <a:cxn ang="0">
                    <a:pos x="255" y="354"/>
                  </a:cxn>
                  <a:cxn ang="0">
                    <a:pos x="264" y="372"/>
                  </a:cxn>
                  <a:cxn ang="0">
                    <a:pos x="282" y="381"/>
                  </a:cxn>
                  <a:cxn ang="0">
                    <a:pos x="299" y="389"/>
                  </a:cxn>
                  <a:cxn ang="0">
                    <a:pos x="326" y="416"/>
                  </a:cxn>
                  <a:cxn ang="0">
                    <a:pos x="335" y="425"/>
                  </a:cxn>
                  <a:cxn ang="0">
                    <a:pos x="343" y="451"/>
                  </a:cxn>
                  <a:cxn ang="0">
                    <a:pos x="291" y="460"/>
                  </a:cxn>
                  <a:cxn ang="0">
                    <a:pos x="44" y="469"/>
                  </a:cxn>
                  <a:cxn ang="0">
                    <a:pos x="35" y="319"/>
                  </a:cxn>
                  <a:cxn ang="0">
                    <a:pos x="27" y="301"/>
                  </a:cxn>
                  <a:cxn ang="0">
                    <a:pos x="35" y="292"/>
                  </a:cxn>
                  <a:cxn ang="0">
                    <a:pos x="44" y="266"/>
                  </a:cxn>
                  <a:cxn ang="0">
                    <a:pos x="35" y="248"/>
                  </a:cxn>
                  <a:cxn ang="0">
                    <a:pos x="27" y="230"/>
                  </a:cxn>
                  <a:cxn ang="0">
                    <a:pos x="27" y="204"/>
                  </a:cxn>
                  <a:cxn ang="0">
                    <a:pos x="27" y="186"/>
                  </a:cxn>
                  <a:cxn ang="0">
                    <a:pos x="27" y="160"/>
                  </a:cxn>
                  <a:cxn ang="0">
                    <a:pos x="27" y="133"/>
                  </a:cxn>
                  <a:cxn ang="0">
                    <a:pos x="9" y="98"/>
                  </a:cxn>
                  <a:cxn ang="0">
                    <a:pos x="9" y="80"/>
                  </a:cxn>
                  <a:cxn ang="0">
                    <a:pos x="9" y="62"/>
                  </a:cxn>
                  <a:cxn ang="0">
                    <a:pos x="0" y="36"/>
                  </a:cxn>
                </a:cxnLst>
                <a:rect l="0" t="0" r="r" b="b"/>
                <a:pathLst>
                  <a:path w="414" h="469">
                    <a:moveTo>
                      <a:pt x="9" y="36"/>
                    </a:moveTo>
                    <a:lnTo>
                      <a:pt x="71" y="36"/>
                    </a:lnTo>
                    <a:lnTo>
                      <a:pt x="115" y="36"/>
                    </a:lnTo>
                    <a:lnTo>
                      <a:pt x="115" y="27"/>
                    </a:lnTo>
                    <a:lnTo>
                      <a:pt x="115" y="0"/>
                    </a:lnTo>
                    <a:lnTo>
                      <a:pt x="115" y="0"/>
                    </a:lnTo>
                    <a:lnTo>
                      <a:pt x="123" y="9"/>
                    </a:lnTo>
                    <a:lnTo>
                      <a:pt x="132" y="9"/>
                    </a:lnTo>
                    <a:lnTo>
                      <a:pt x="132" y="27"/>
                    </a:lnTo>
                    <a:lnTo>
                      <a:pt x="141" y="45"/>
                    </a:lnTo>
                    <a:lnTo>
                      <a:pt x="141" y="45"/>
                    </a:lnTo>
                    <a:lnTo>
                      <a:pt x="141" y="53"/>
                    </a:lnTo>
                    <a:lnTo>
                      <a:pt x="150" y="53"/>
                    </a:lnTo>
                    <a:lnTo>
                      <a:pt x="159" y="53"/>
                    </a:lnTo>
                    <a:lnTo>
                      <a:pt x="159" y="53"/>
                    </a:lnTo>
                    <a:lnTo>
                      <a:pt x="185" y="62"/>
                    </a:lnTo>
                    <a:lnTo>
                      <a:pt x="185" y="62"/>
                    </a:lnTo>
                    <a:lnTo>
                      <a:pt x="194" y="71"/>
                    </a:lnTo>
                    <a:lnTo>
                      <a:pt x="203" y="62"/>
                    </a:lnTo>
                    <a:lnTo>
                      <a:pt x="203" y="62"/>
                    </a:lnTo>
                    <a:lnTo>
                      <a:pt x="211" y="62"/>
                    </a:lnTo>
                    <a:lnTo>
                      <a:pt x="211" y="62"/>
                    </a:lnTo>
                    <a:lnTo>
                      <a:pt x="211" y="62"/>
                    </a:lnTo>
                    <a:lnTo>
                      <a:pt x="220" y="53"/>
                    </a:lnTo>
                    <a:lnTo>
                      <a:pt x="229" y="53"/>
                    </a:lnTo>
                    <a:lnTo>
                      <a:pt x="247" y="62"/>
                    </a:lnTo>
                    <a:lnTo>
                      <a:pt x="247" y="71"/>
                    </a:lnTo>
                    <a:lnTo>
                      <a:pt x="255" y="71"/>
                    </a:lnTo>
                    <a:lnTo>
                      <a:pt x="255" y="71"/>
                    </a:lnTo>
                    <a:lnTo>
                      <a:pt x="255" y="80"/>
                    </a:lnTo>
                    <a:lnTo>
                      <a:pt x="264" y="80"/>
                    </a:lnTo>
                    <a:lnTo>
                      <a:pt x="264" y="89"/>
                    </a:lnTo>
                    <a:lnTo>
                      <a:pt x="264" y="80"/>
                    </a:lnTo>
                    <a:lnTo>
                      <a:pt x="273" y="80"/>
                    </a:lnTo>
                    <a:lnTo>
                      <a:pt x="282" y="80"/>
                    </a:lnTo>
                    <a:lnTo>
                      <a:pt x="282" y="80"/>
                    </a:lnTo>
                    <a:lnTo>
                      <a:pt x="299" y="89"/>
                    </a:lnTo>
                    <a:lnTo>
                      <a:pt x="299" y="98"/>
                    </a:lnTo>
                    <a:lnTo>
                      <a:pt x="308" y="98"/>
                    </a:lnTo>
                    <a:lnTo>
                      <a:pt x="317" y="98"/>
                    </a:lnTo>
                    <a:lnTo>
                      <a:pt x="326" y="98"/>
                    </a:lnTo>
                    <a:lnTo>
                      <a:pt x="326" y="89"/>
                    </a:lnTo>
                    <a:lnTo>
                      <a:pt x="335" y="80"/>
                    </a:lnTo>
                    <a:lnTo>
                      <a:pt x="343" y="80"/>
                    </a:lnTo>
                    <a:lnTo>
                      <a:pt x="343" y="89"/>
                    </a:lnTo>
                    <a:lnTo>
                      <a:pt x="343" y="89"/>
                    </a:lnTo>
                    <a:lnTo>
                      <a:pt x="352" y="89"/>
                    </a:lnTo>
                    <a:lnTo>
                      <a:pt x="352" y="89"/>
                    </a:lnTo>
                    <a:lnTo>
                      <a:pt x="361" y="89"/>
                    </a:lnTo>
                    <a:lnTo>
                      <a:pt x="370" y="89"/>
                    </a:lnTo>
                    <a:lnTo>
                      <a:pt x="370" y="89"/>
                    </a:lnTo>
                    <a:lnTo>
                      <a:pt x="387" y="89"/>
                    </a:lnTo>
                    <a:lnTo>
                      <a:pt x="387" y="98"/>
                    </a:lnTo>
                    <a:lnTo>
                      <a:pt x="387" y="98"/>
                    </a:lnTo>
                    <a:lnTo>
                      <a:pt x="396" y="98"/>
                    </a:lnTo>
                    <a:lnTo>
                      <a:pt x="396" y="98"/>
                    </a:lnTo>
                    <a:lnTo>
                      <a:pt x="414" y="98"/>
                    </a:lnTo>
                    <a:lnTo>
                      <a:pt x="405" y="98"/>
                    </a:lnTo>
                    <a:lnTo>
                      <a:pt x="405" y="106"/>
                    </a:lnTo>
                    <a:lnTo>
                      <a:pt x="396" y="106"/>
                    </a:lnTo>
                    <a:lnTo>
                      <a:pt x="379" y="115"/>
                    </a:lnTo>
                    <a:lnTo>
                      <a:pt x="379" y="115"/>
                    </a:lnTo>
                    <a:lnTo>
                      <a:pt x="361" y="124"/>
                    </a:lnTo>
                    <a:lnTo>
                      <a:pt x="352" y="133"/>
                    </a:lnTo>
                    <a:lnTo>
                      <a:pt x="335" y="151"/>
                    </a:lnTo>
                    <a:lnTo>
                      <a:pt x="326" y="160"/>
                    </a:lnTo>
                    <a:lnTo>
                      <a:pt x="308" y="168"/>
                    </a:lnTo>
                    <a:lnTo>
                      <a:pt x="308" y="177"/>
                    </a:lnTo>
                    <a:lnTo>
                      <a:pt x="308" y="177"/>
                    </a:lnTo>
                    <a:lnTo>
                      <a:pt x="299" y="186"/>
                    </a:lnTo>
                    <a:lnTo>
                      <a:pt x="282" y="195"/>
                    </a:lnTo>
                    <a:lnTo>
                      <a:pt x="282" y="204"/>
                    </a:lnTo>
                    <a:lnTo>
                      <a:pt x="282" y="204"/>
                    </a:lnTo>
                    <a:lnTo>
                      <a:pt x="282" y="204"/>
                    </a:lnTo>
                    <a:lnTo>
                      <a:pt x="273" y="213"/>
                    </a:lnTo>
                    <a:lnTo>
                      <a:pt x="273" y="213"/>
                    </a:lnTo>
                    <a:lnTo>
                      <a:pt x="273" y="248"/>
                    </a:lnTo>
                    <a:lnTo>
                      <a:pt x="273" y="257"/>
                    </a:lnTo>
                    <a:lnTo>
                      <a:pt x="273" y="257"/>
                    </a:lnTo>
                    <a:lnTo>
                      <a:pt x="264" y="266"/>
                    </a:lnTo>
                    <a:lnTo>
                      <a:pt x="247" y="274"/>
                    </a:lnTo>
                    <a:lnTo>
                      <a:pt x="247" y="274"/>
                    </a:lnTo>
                    <a:lnTo>
                      <a:pt x="247" y="283"/>
                    </a:lnTo>
                    <a:lnTo>
                      <a:pt x="247" y="283"/>
                    </a:lnTo>
                    <a:lnTo>
                      <a:pt x="247" y="292"/>
                    </a:lnTo>
                    <a:lnTo>
                      <a:pt x="247" y="301"/>
                    </a:lnTo>
                    <a:lnTo>
                      <a:pt x="255" y="301"/>
                    </a:lnTo>
                    <a:lnTo>
                      <a:pt x="255" y="310"/>
                    </a:lnTo>
                    <a:lnTo>
                      <a:pt x="255" y="319"/>
                    </a:lnTo>
                    <a:lnTo>
                      <a:pt x="255" y="328"/>
                    </a:lnTo>
                    <a:lnTo>
                      <a:pt x="247" y="336"/>
                    </a:lnTo>
                    <a:lnTo>
                      <a:pt x="255" y="345"/>
                    </a:lnTo>
                    <a:lnTo>
                      <a:pt x="255" y="354"/>
                    </a:lnTo>
                    <a:lnTo>
                      <a:pt x="247" y="363"/>
                    </a:lnTo>
                    <a:lnTo>
                      <a:pt x="255" y="372"/>
                    </a:lnTo>
                    <a:lnTo>
                      <a:pt x="264" y="372"/>
                    </a:lnTo>
                    <a:lnTo>
                      <a:pt x="273" y="372"/>
                    </a:lnTo>
                    <a:lnTo>
                      <a:pt x="282" y="381"/>
                    </a:lnTo>
                    <a:lnTo>
                      <a:pt x="282" y="381"/>
                    </a:lnTo>
                    <a:lnTo>
                      <a:pt x="282" y="389"/>
                    </a:lnTo>
                    <a:lnTo>
                      <a:pt x="291" y="389"/>
                    </a:lnTo>
                    <a:lnTo>
                      <a:pt x="299" y="389"/>
                    </a:lnTo>
                    <a:lnTo>
                      <a:pt x="308" y="407"/>
                    </a:lnTo>
                    <a:lnTo>
                      <a:pt x="317" y="416"/>
                    </a:lnTo>
                    <a:lnTo>
                      <a:pt x="326" y="416"/>
                    </a:lnTo>
                    <a:lnTo>
                      <a:pt x="326" y="416"/>
                    </a:lnTo>
                    <a:lnTo>
                      <a:pt x="335" y="416"/>
                    </a:lnTo>
                    <a:lnTo>
                      <a:pt x="335" y="425"/>
                    </a:lnTo>
                    <a:lnTo>
                      <a:pt x="343" y="434"/>
                    </a:lnTo>
                    <a:lnTo>
                      <a:pt x="343" y="442"/>
                    </a:lnTo>
                    <a:lnTo>
                      <a:pt x="343" y="451"/>
                    </a:lnTo>
                    <a:lnTo>
                      <a:pt x="343" y="451"/>
                    </a:lnTo>
                    <a:lnTo>
                      <a:pt x="343" y="460"/>
                    </a:lnTo>
                    <a:lnTo>
                      <a:pt x="291" y="460"/>
                    </a:lnTo>
                    <a:lnTo>
                      <a:pt x="203" y="460"/>
                    </a:lnTo>
                    <a:lnTo>
                      <a:pt x="106" y="469"/>
                    </a:lnTo>
                    <a:lnTo>
                      <a:pt x="44" y="469"/>
                    </a:lnTo>
                    <a:lnTo>
                      <a:pt x="44" y="328"/>
                    </a:lnTo>
                    <a:lnTo>
                      <a:pt x="44" y="319"/>
                    </a:lnTo>
                    <a:lnTo>
                      <a:pt x="35" y="319"/>
                    </a:lnTo>
                    <a:lnTo>
                      <a:pt x="35" y="319"/>
                    </a:lnTo>
                    <a:lnTo>
                      <a:pt x="27" y="301"/>
                    </a:lnTo>
                    <a:lnTo>
                      <a:pt x="27" y="301"/>
                    </a:lnTo>
                    <a:lnTo>
                      <a:pt x="27" y="301"/>
                    </a:lnTo>
                    <a:lnTo>
                      <a:pt x="27" y="292"/>
                    </a:lnTo>
                    <a:lnTo>
                      <a:pt x="35" y="292"/>
                    </a:lnTo>
                    <a:lnTo>
                      <a:pt x="35" y="283"/>
                    </a:lnTo>
                    <a:lnTo>
                      <a:pt x="44" y="274"/>
                    </a:lnTo>
                    <a:lnTo>
                      <a:pt x="44" y="266"/>
                    </a:lnTo>
                    <a:lnTo>
                      <a:pt x="44" y="266"/>
                    </a:lnTo>
                    <a:lnTo>
                      <a:pt x="35" y="257"/>
                    </a:lnTo>
                    <a:lnTo>
                      <a:pt x="35" y="248"/>
                    </a:lnTo>
                    <a:lnTo>
                      <a:pt x="35" y="239"/>
                    </a:lnTo>
                    <a:lnTo>
                      <a:pt x="35" y="230"/>
                    </a:lnTo>
                    <a:lnTo>
                      <a:pt x="27" y="230"/>
                    </a:lnTo>
                    <a:lnTo>
                      <a:pt x="27" y="221"/>
                    </a:lnTo>
                    <a:lnTo>
                      <a:pt x="27" y="221"/>
                    </a:lnTo>
                    <a:lnTo>
                      <a:pt x="27" y="204"/>
                    </a:lnTo>
                    <a:lnTo>
                      <a:pt x="27" y="195"/>
                    </a:lnTo>
                    <a:lnTo>
                      <a:pt x="27" y="186"/>
                    </a:lnTo>
                    <a:lnTo>
                      <a:pt x="27" y="186"/>
                    </a:lnTo>
                    <a:lnTo>
                      <a:pt x="27" y="168"/>
                    </a:lnTo>
                    <a:lnTo>
                      <a:pt x="27" y="160"/>
                    </a:lnTo>
                    <a:lnTo>
                      <a:pt x="27" y="160"/>
                    </a:lnTo>
                    <a:lnTo>
                      <a:pt x="27" y="151"/>
                    </a:lnTo>
                    <a:lnTo>
                      <a:pt x="27" y="151"/>
                    </a:lnTo>
                    <a:lnTo>
                      <a:pt x="27" y="133"/>
                    </a:lnTo>
                    <a:lnTo>
                      <a:pt x="18" y="124"/>
                    </a:lnTo>
                    <a:lnTo>
                      <a:pt x="18" y="115"/>
                    </a:lnTo>
                    <a:lnTo>
                      <a:pt x="9" y="98"/>
                    </a:lnTo>
                    <a:lnTo>
                      <a:pt x="9" y="98"/>
                    </a:lnTo>
                    <a:lnTo>
                      <a:pt x="9" y="89"/>
                    </a:lnTo>
                    <a:lnTo>
                      <a:pt x="9" y="80"/>
                    </a:lnTo>
                    <a:lnTo>
                      <a:pt x="9" y="80"/>
                    </a:lnTo>
                    <a:lnTo>
                      <a:pt x="9" y="71"/>
                    </a:lnTo>
                    <a:lnTo>
                      <a:pt x="9" y="62"/>
                    </a:lnTo>
                    <a:lnTo>
                      <a:pt x="9" y="53"/>
                    </a:lnTo>
                    <a:lnTo>
                      <a:pt x="9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9" y="36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71" name="Freeform 102"/>
              <p:cNvSpPr>
                <a:spLocks/>
              </p:cNvSpPr>
              <p:nvPr/>
            </p:nvSpPr>
            <p:spPr bwMode="auto">
              <a:xfrm>
                <a:off x="2948252" y="1748689"/>
                <a:ext cx="555436" cy="629226"/>
              </a:xfrm>
              <a:custGeom>
                <a:avLst/>
                <a:gdLst/>
                <a:ahLst/>
                <a:cxnLst>
                  <a:cxn ang="0">
                    <a:pos x="115" y="36"/>
                  </a:cxn>
                  <a:cxn ang="0">
                    <a:pos x="115" y="0"/>
                  </a:cxn>
                  <a:cxn ang="0">
                    <a:pos x="132" y="27"/>
                  </a:cxn>
                  <a:cxn ang="0">
                    <a:pos x="141" y="53"/>
                  </a:cxn>
                  <a:cxn ang="0">
                    <a:pos x="159" y="53"/>
                  </a:cxn>
                  <a:cxn ang="0">
                    <a:pos x="194" y="71"/>
                  </a:cxn>
                  <a:cxn ang="0">
                    <a:pos x="211" y="62"/>
                  </a:cxn>
                  <a:cxn ang="0">
                    <a:pos x="220" y="53"/>
                  </a:cxn>
                  <a:cxn ang="0">
                    <a:pos x="247" y="71"/>
                  </a:cxn>
                  <a:cxn ang="0">
                    <a:pos x="255" y="80"/>
                  </a:cxn>
                  <a:cxn ang="0">
                    <a:pos x="264" y="80"/>
                  </a:cxn>
                  <a:cxn ang="0">
                    <a:pos x="282" y="80"/>
                  </a:cxn>
                  <a:cxn ang="0">
                    <a:pos x="308" y="98"/>
                  </a:cxn>
                  <a:cxn ang="0">
                    <a:pos x="326" y="89"/>
                  </a:cxn>
                  <a:cxn ang="0">
                    <a:pos x="343" y="89"/>
                  </a:cxn>
                  <a:cxn ang="0">
                    <a:pos x="352" y="89"/>
                  </a:cxn>
                  <a:cxn ang="0">
                    <a:pos x="370" y="89"/>
                  </a:cxn>
                  <a:cxn ang="0">
                    <a:pos x="387" y="98"/>
                  </a:cxn>
                  <a:cxn ang="0">
                    <a:pos x="414" y="98"/>
                  </a:cxn>
                  <a:cxn ang="0">
                    <a:pos x="396" y="106"/>
                  </a:cxn>
                  <a:cxn ang="0">
                    <a:pos x="361" y="124"/>
                  </a:cxn>
                  <a:cxn ang="0">
                    <a:pos x="326" y="160"/>
                  </a:cxn>
                  <a:cxn ang="0">
                    <a:pos x="308" y="177"/>
                  </a:cxn>
                  <a:cxn ang="0">
                    <a:pos x="282" y="204"/>
                  </a:cxn>
                  <a:cxn ang="0">
                    <a:pos x="273" y="213"/>
                  </a:cxn>
                  <a:cxn ang="0">
                    <a:pos x="273" y="257"/>
                  </a:cxn>
                  <a:cxn ang="0">
                    <a:pos x="247" y="274"/>
                  </a:cxn>
                  <a:cxn ang="0">
                    <a:pos x="247" y="283"/>
                  </a:cxn>
                  <a:cxn ang="0">
                    <a:pos x="255" y="301"/>
                  </a:cxn>
                  <a:cxn ang="0">
                    <a:pos x="255" y="328"/>
                  </a:cxn>
                  <a:cxn ang="0">
                    <a:pos x="255" y="354"/>
                  </a:cxn>
                  <a:cxn ang="0">
                    <a:pos x="264" y="372"/>
                  </a:cxn>
                  <a:cxn ang="0">
                    <a:pos x="282" y="381"/>
                  </a:cxn>
                  <a:cxn ang="0">
                    <a:pos x="299" y="389"/>
                  </a:cxn>
                  <a:cxn ang="0">
                    <a:pos x="326" y="416"/>
                  </a:cxn>
                  <a:cxn ang="0">
                    <a:pos x="335" y="425"/>
                  </a:cxn>
                  <a:cxn ang="0">
                    <a:pos x="343" y="451"/>
                  </a:cxn>
                  <a:cxn ang="0">
                    <a:pos x="291" y="460"/>
                  </a:cxn>
                  <a:cxn ang="0">
                    <a:pos x="44" y="469"/>
                  </a:cxn>
                  <a:cxn ang="0">
                    <a:pos x="35" y="319"/>
                  </a:cxn>
                  <a:cxn ang="0">
                    <a:pos x="27" y="301"/>
                  </a:cxn>
                  <a:cxn ang="0">
                    <a:pos x="35" y="292"/>
                  </a:cxn>
                  <a:cxn ang="0">
                    <a:pos x="44" y="266"/>
                  </a:cxn>
                  <a:cxn ang="0">
                    <a:pos x="35" y="248"/>
                  </a:cxn>
                  <a:cxn ang="0">
                    <a:pos x="27" y="230"/>
                  </a:cxn>
                  <a:cxn ang="0">
                    <a:pos x="27" y="204"/>
                  </a:cxn>
                  <a:cxn ang="0">
                    <a:pos x="27" y="186"/>
                  </a:cxn>
                  <a:cxn ang="0">
                    <a:pos x="27" y="160"/>
                  </a:cxn>
                  <a:cxn ang="0">
                    <a:pos x="27" y="133"/>
                  </a:cxn>
                  <a:cxn ang="0">
                    <a:pos x="9" y="98"/>
                  </a:cxn>
                  <a:cxn ang="0">
                    <a:pos x="9" y="80"/>
                  </a:cxn>
                  <a:cxn ang="0">
                    <a:pos x="9" y="62"/>
                  </a:cxn>
                  <a:cxn ang="0">
                    <a:pos x="0" y="36"/>
                  </a:cxn>
                </a:cxnLst>
                <a:rect l="0" t="0" r="r" b="b"/>
                <a:pathLst>
                  <a:path w="414" h="469">
                    <a:moveTo>
                      <a:pt x="9" y="36"/>
                    </a:moveTo>
                    <a:lnTo>
                      <a:pt x="71" y="36"/>
                    </a:lnTo>
                    <a:lnTo>
                      <a:pt x="115" y="36"/>
                    </a:lnTo>
                    <a:lnTo>
                      <a:pt x="115" y="27"/>
                    </a:lnTo>
                    <a:lnTo>
                      <a:pt x="115" y="0"/>
                    </a:lnTo>
                    <a:lnTo>
                      <a:pt x="115" y="0"/>
                    </a:lnTo>
                    <a:lnTo>
                      <a:pt x="123" y="9"/>
                    </a:lnTo>
                    <a:lnTo>
                      <a:pt x="132" y="9"/>
                    </a:lnTo>
                    <a:lnTo>
                      <a:pt x="132" y="27"/>
                    </a:lnTo>
                    <a:lnTo>
                      <a:pt x="141" y="45"/>
                    </a:lnTo>
                    <a:lnTo>
                      <a:pt x="141" y="45"/>
                    </a:lnTo>
                    <a:lnTo>
                      <a:pt x="141" y="53"/>
                    </a:lnTo>
                    <a:lnTo>
                      <a:pt x="150" y="53"/>
                    </a:lnTo>
                    <a:lnTo>
                      <a:pt x="159" y="53"/>
                    </a:lnTo>
                    <a:lnTo>
                      <a:pt x="159" y="53"/>
                    </a:lnTo>
                    <a:lnTo>
                      <a:pt x="185" y="62"/>
                    </a:lnTo>
                    <a:lnTo>
                      <a:pt x="185" y="62"/>
                    </a:lnTo>
                    <a:lnTo>
                      <a:pt x="194" y="71"/>
                    </a:lnTo>
                    <a:lnTo>
                      <a:pt x="203" y="62"/>
                    </a:lnTo>
                    <a:lnTo>
                      <a:pt x="203" y="62"/>
                    </a:lnTo>
                    <a:lnTo>
                      <a:pt x="211" y="62"/>
                    </a:lnTo>
                    <a:lnTo>
                      <a:pt x="211" y="62"/>
                    </a:lnTo>
                    <a:lnTo>
                      <a:pt x="211" y="62"/>
                    </a:lnTo>
                    <a:lnTo>
                      <a:pt x="220" y="53"/>
                    </a:lnTo>
                    <a:lnTo>
                      <a:pt x="229" y="53"/>
                    </a:lnTo>
                    <a:lnTo>
                      <a:pt x="247" y="62"/>
                    </a:lnTo>
                    <a:lnTo>
                      <a:pt x="247" y="71"/>
                    </a:lnTo>
                    <a:lnTo>
                      <a:pt x="255" y="71"/>
                    </a:lnTo>
                    <a:lnTo>
                      <a:pt x="255" y="71"/>
                    </a:lnTo>
                    <a:lnTo>
                      <a:pt x="255" y="80"/>
                    </a:lnTo>
                    <a:lnTo>
                      <a:pt x="264" y="80"/>
                    </a:lnTo>
                    <a:lnTo>
                      <a:pt x="264" y="89"/>
                    </a:lnTo>
                    <a:lnTo>
                      <a:pt x="264" y="80"/>
                    </a:lnTo>
                    <a:lnTo>
                      <a:pt x="273" y="80"/>
                    </a:lnTo>
                    <a:lnTo>
                      <a:pt x="282" y="80"/>
                    </a:lnTo>
                    <a:lnTo>
                      <a:pt x="282" y="80"/>
                    </a:lnTo>
                    <a:lnTo>
                      <a:pt x="299" y="89"/>
                    </a:lnTo>
                    <a:lnTo>
                      <a:pt x="299" y="98"/>
                    </a:lnTo>
                    <a:lnTo>
                      <a:pt x="308" y="98"/>
                    </a:lnTo>
                    <a:lnTo>
                      <a:pt x="317" y="98"/>
                    </a:lnTo>
                    <a:lnTo>
                      <a:pt x="326" y="98"/>
                    </a:lnTo>
                    <a:lnTo>
                      <a:pt x="326" y="89"/>
                    </a:lnTo>
                    <a:lnTo>
                      <a:pt x="335" y="80"/>
                    </a:lnTo>
                    <a:lnTo>
                      <a:pt x="343" y="80"/>
                    </a:lnTo>
                    <a:lnTo>
                      <a:pt x="343" y="89"/>
                    </a:lnTo>
                    <a:lnTo>
                      <a:pt x="343" y="89"/>
                    </a:lnTo>
                    <a:lnTo>
                      <a:pt x="352" y="89"/>
                    </a:lnTo>
                    <a:lnTo>
                      <a:pt x="352" y="89"/>
                    </a:lnTo>
                    <a:lnTo>
                      <a:pt x="361" y="89"/>
                    </a:lnTo>
                    <a:lnTo>
                      <a:pt x="370" y="89"/>
                    </a:lnTo>
                    <a:lnTo>
                      <a:pt x="370" y="89"/>
                    </a:lnTo>
                    <a:lnTo>
                      <a:pt x="387" y="89"/>
                    </a:lnTo>
                    <a:lnTo>
                      <a:pt x="387" y="98"/>
                    </a:lnTo>
                    <a:lnTo>
                      <a:pt x="387" y="98"/>
                    </a:lnTo>
                    <a:lnTo>
                      <a:pt x="396" y="98"/>
                    </a:lnTo>
                    <a:lnTo>
                      <a:pt x="396" y="98"/>
                    </a:lnTo>
                    <a:lnTo>
                      <a:pt x="414" y="98"/>
                    </a:lnTo>
                    <a:lnTo>
                      <a:pt x="405" y="98"/>
                    </a:lnTo>
                    <a:lnTo>
                      <a:pt x="405" y="106"/>
                    </a:lnTo>
                    <a:lnTo>
                      <a:pt x="396" y="106"/>
                    </a:lnTo>
                    <a:lnTo>
                      <a:pt x="379" y="115"/>
                    </a:lnTo>
                    <a:lnTo>
                      <a:pt x="379" y="115"/>
                    </a:lnTo>
                    <a:lnTo>
                      <a:pt x="361" y="124"/>
                    </a:lnTo>
                    <a:lnTo>
                      <a:pt x="352" y="133"/>
                    </a:lnTo>
                    <a:lnTo>
                      <a:pt x="335" y="151"/>
                    </a:lnTo>
                    <a:lnTo>
                      <a:pt x="326" y="160"/>
                    </a:lnTo>
                    <a:lnTo>
                      <a:pt x="308" y="168"/>
                    </a:lnTo>
                    <a:lnTo>
                      <a:pt x="308" y="177"/>
                    </a:lnTo>
                    <a:lnTo>
                      <a:pt x="308" y="177"/>
                    </a:lnTo>
                    <a:lnTo>
                      <a:pt x="299" y="186"/>
                    </a:lnTo>
                    <a:lnTo>
                      <a:pt x="282" y="195"/>
                    </a:lnTo>
                    <a:lnTo>
                      <a:pt x="282" y="204"/>
                    </a:lnTo>
                    <a:lnTo>
                      <a:pt x="282" y="204"/>
                    </a:lnTo>
                    <a:lnTo>
                      <a:pt x="282" y="204"/>
                    </a:lnTo>
                    <a:lnTo>
                      <a:pt x="273" y="213"/>
                    </a:lnTo>
                    <a:lnTo>
                      <a:pt x="273" y="213"/>
                    </a:lnTo>
                    <a:lnTo>
                      <a:pt x="273" y="248"/>
                    </a:lnTo>
                    <a:lnTo>
                      <a:pt x="273" y="257"/>
                    </a:lnTo>
                    <a:lnTo>
                      <a:pt x="273" y="257"/>
                    </a:lnTo>
                    <a:lnTo>
                      <a:pt x="264" y="266"/>
                    </a:lnTo>
                    <a:lnTo>
                      <a:pt x="247" y="274"/>
                    </a:lnTo>
                    <a:lnTo>
                      <a:pt x="247" y="274"/>
                    </a:lnTo>
                    <a:lnTo>
                      <a:pt x="247" y="283"/>
                    </a:lnTo>
                    <a:lnTo>
                      <a:pt x="247" y="283"/>
                    </a:lnTo>
                    <a:lnTo>
                      <a:pt x="247" y="292"/>
                    </a:lnTo>
                    <a:lnTo>
                      <a:pt x="247" y="301"/>
                    </a:lnTo>
                    <a:lnTo>
                      <a:pt x="255" y="301"/>
                    </a:lnTo>
                    <a:lnTo>
                      <a:pt x="255" y="310"/>
                    </a:lnTo>
                    <a:lnTo>
                      <a:pt x="255" y="319"/>
                    </a:lnTo>
                    <a:lnTo>
                      <a:pt x="255" y="328"/>
                    </a:lnTo>
                    <a:lnTo>
                      <a:pt x="247" y="336"/>
                    </a:lnTo>
                    <a:lnTo>
                      <a:pt x="255" y="345"/>
                    </a:lnTo>
                    <a:lnTo>
                      <a:pt x="255" y="354"/>
                    </a:lnTo>
                    <a:lnTo>
                      <a:pt x="247" y="363"/>
                    </a:lnTo>
                    <a:lnTo>
                      <a:pt x="255" y="372"/>
                    </a:lnTo>
                    <a:lnTo>
                      <a:pt x="264" y="372"/>
                    </a:lnTo>
                    <a:lnTo>
                      <a:pt x="273" y="372"/>
                    </a:lnTo>
                    <a:lnTo>
                      <a:pt x="282" y="381"/>
                    </a:lnTo>
                    <a:lnTo>
                      <a:pt x="282" y="381"/>
                    </a:lnTo>
                    <a:lnTo>
                      <a:pt x="282" y="389"/>
                    </a:lnTo>
                    <a:lnTo>
                      <a:pt x="291" y="389"/>
                    </a:lnTo>
                    <a:lnTo>
                      <a:pt x="299" y="389"/>
                    </a:lnTo>
                    <a:lnTo>
                      <a:pt x="308" y="407"/>
                    </a:lnTo>
                    <a:lnTo>
                      <a:pt x="317" y="416"/>
                    </a:lnTo>
                    <a:lnTo>
                      <a:pt x="326" y="416"/>
                    </a:lnTo>
                    <a:lnTo>
                      <a:pt x="326" y="416"/>
                    </a:lnTo>
                    <a:lnTo>
                      <a:pt x="335" y="416"/>
                    </a:lnTo>
                    <a:lnTo>
                      <a:pt x="335" y="425"/>
                    </a:lnTo>
                    <a:lnTo>
                      <a:pt x="343" y="434"/>
                    </a:lnTo>
                    <a:lnTo>
                      <a:pt x="343" y="442"/>
                    </a:lnTo>
                    <a:lnTo>
                      <a:pt x="343" y="451"/>
                    </a:lnTo>
                    <a:lnTo>
                      <a:pt x="343" y="451"/>
                    </a:lnTo>
                    <a:lnTo>
                      <a:pt x="343" y="460"/>
                    </a:lnTo>
                    <a:lnTo>
                      <a:pt x="291" y="460"/>
                    </a:lnTo>
                    <a:lnTo>
                      <a:pt x="203" y="460"/>
                    </a:lnTo>
                    <a:lnTo>
                      <a:pt x="106" y="469"/>
                    </a:lnTo>
                    <a:lnTo>
                      <a:pt x="44" y="469"/>
                    </a:lnTo>
                    <a:lnTo>
                      <a:pt x="44" y="328"/>
                    </a:lnTo>
                    <a:lnTo>
                      <a:pt x="44" y="319"/>
                    </a:lnTo>
                    <a:lnTo>
                      <a:pt x="35" y="319"/>
                    </a:lnTo>
                    <a:lnTo>
                      <a:pt x="35" y="319"/>
                    </a:lnTo>
                    <a:lnTo>
                      <a:pt x="27" y="301"/>
                    </a:lnTo>
                    <a:lnTo>
                      <a:pt x="27" y="301"/>
                    </a:lnTo>
                    <a:lnTo>
                      <a:pt x="27" y="301"/>
                    </a:lnTo>
                    <a:lnTo>
                      <a:pt x="27" y="292"/>
                    </a:lnTo>
                    <a:lnTo>
                      <a:pt x="35" y="292"/>
                    </a:lnTo>
                    <a:lnTo>
                      <a:pt x="35" y="283"/>
                    </a:lnTo>
                    <a:lnTo>
                      <a:pt x="44" y="274"/>
                    </a:lnTo>
                    <a:lnTo>
                      <a:pt x="44" y="266"/>
                    </a:lnTo>
                    <a:lnTo>
                      <a:pt x="44" y="266"/>
                    </a:lnTo>
                    <a:lnTo>
                      <a:pt x="35" y="257"/>
                    </a:lnTo>
                    <a:lnTo>
                      <a:pt x="35" y="248"/>
                    </a:lnTo>
                    <a:lnTo>
                      <a:pt x="35" y="239"/>
                    </a:lnTo>
                    <a:lnTo>
                      <a:pt x="35" y="230"/>
                    </a:lnTo>
                    <a:lnTo>
                      <a:pt x="27" y="230"/>
                    </a:lnTo>
                    <a:lnTo>
                      <a:pt x="27" y="221"/>
                    </a:lnTo>
                    <a:lnTo>
                      <a:pt x="27" y="221"/>
                    </a:lnTo>
                    <a:lnTo>
                      <a:pt x="27" y="204"/>
                    </a:lnTo>
                    <a:lnTo>
                      <a:pt x="27" y="195"/>
                    </a:lnTo>
                    <a:lnTo>
                      <a:pt x="27" y="186"/>
                    </a:lnTo>
                    <a:lnTo>
                      <a:pt x="27" y="186"/>
                    </a:lnTo>
                    <a:lnTo>
                      <a:pt x="27" y="168"/>
                    </a:lnTo>
                    <a:lnTo>
                      <a:pt x="27" y="160"/>
                    </a:lnTo>
                    <a:lnTo>
                      <a:pt x="27" y="160"/>
                    </a:lnTo>
                    <a:lnTo>
                      <a:pt x="27" y="151"/>
                    </a:lnTo>
                    <a:lnTo>
                      <a:pt x="27" y="151"/>
                    </a:lnTo>
                    <a:lnTo>
                      <a:pt x="27" y="133"/>
                    </a:lnTo>
                    <a:lnTo>
                      <a:pt x="18" y="124"/>
                    </a:lnTo>
                    <a:lnTo>
                      <a:pt x="18" y="115"/>
                    </a:lnTo>
                    <a:lnTo>
                      <a:pt x="9" y="98"/>
                    </a:lnTo>
                    <a:lnTo>
                      <a:pt x="9" y="98"/>
                    </a:lnTo>
                    <a:lnTo>
                      <a:pt x="9" y="89"/>
                    </a:lnTo>
                    <a:lnTo>
                      <a:pt x="9" y="80"/>
                    </a:lnTo>
                    <a:lnTo>
                      <a:pt x="9" y="80"/>
                    </a:lnTo>
                    <a:lnTo>
                      <a:pt x="9" y="71"/>
                    </a:lnTo>
                    <a:lnTo>
                      <a:pt x="9" y="62"/>
                    </a:lnTo>
                    <a:lnTo>
                      <a:pt x="9" y="53"/>
                    </a:lnTo>
                    <a:lnTo>
                      <a:pt x="9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9" y="36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72" name="Freeform 103"/>
              <p:cNvSpPr>
                <a:spLocks/>
              </p:cNvSpPr>
              <p:nvPr/>
            </p:nvSpPr>
            <p:spPr bwMode="auto">
              <a:xfrm>
                <a:off x="3692857" y="2140445"/>
                <a:ext cx="22808" cy="59032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0" y="27"/>
                  </a:cxn>
                  <a:cxn ang="0">
                    <a:pos x="0" y="18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17" y="0"/>
                  </a:cxn>
                  <a:cxn ang="0">
                    <a:pos x="17" y="9"/>
                  </a:cxn>
                  <a:cxn ang="0">
                    <a:pos x="8" y="18"/>
                  </a:cxn>
                  <a:cxn ang="0">
                    <a:pos x="17" y="18"/>
                  </a:cxn>
                  <a:cxn ang="0">
                    <a:pos x="8" y="27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0" y="44"/>
                  </a:cxn>
                  <a:cxn ang="0">
                    <a:pos x="0" y="44"/>
                  </a:cxn>
                  <a:cxn ang="0">
                    <a:pos x="0" y="36"/>
                  </a:cxn>
                  <a:cxn ang="0">
                    <a:pos x="0" y="27"/>
                  </a:cxn>
                </a:cxnLst>
                <a:rect l="0" t="0" r="r" b="b"/>
                <a:pathLst>
                  <a:path w="17" h="44">
                    <a:moveTo>
                      <a:pt x="0" y="27"/>
                    </a:moveTo>
                    <a:lnTo>
                      <a:pt x="0" y="27"/>
                    </a:lnTo>
                    <a:lnTo>
                      <a:pt x="0" y="18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17" y="0"/>
                    </a:lnTo>
                    <a:lnTo>
                      <a:pt x="17" y="9"/>
                    </a:lnTo>
                    <a:lnTo>
                      <a:pt x="8" y="18"/>
                    </a:lnTo>
                    <a:lnTo>
                      <a:pt x="17" y="18"/>
                    </a:lnTo>
                    <a:lnTo>
                      <a:pt x="8" y="27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6"/>
                    </a:lnTo>
                    <a:lnTo>
                      <a:pt x="0" y="27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73" name="Freeform 104"/>
              <p:cNvSpPr>
                <a:spLocks/>
              </p:cNvSpPr>
              <p:nvPr/>
            </p:nvSpPr>
            <p:spPr bwMode="auto">
              <a:xfrm>
                <a:off x="3692857" y="2140445"/>
                <a:ext cx="22808" cy="59032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0" y="27"/>
                  </a:cxn>
                  <a:cxn ang="0">
                    <a:pos x="0" y="18"/>
                  </a:cxn>
                  <a:cxn ang="0">
                    <a:pos x="8" y="9"/>
                  </a:cxn>
                  <a:cxn ang="0">
                    <a:pos x="8" y="9"/>
                  </a:cxn>
                  <a:cxn ang="0">
                    <a:pos x="17" y="0"/>
                  </a:cxn>
                  <a:cxn ang="0">
                    <a:pos x="17" y="9"/>
                  </a:cxn>
                  <a:cxn ang="0">
                    <a:pos x="8" y="18"/>
                  </a:cxn>
                  <a:cxn ang="0">
                    <a:pos x="17" y="18"/>
                  </a:cxn>
                  <a:cxn ang="0">
                    <a:pos x="8" y="27"/>
                  </a:cxn>
                  <a:cxn ang="0">
                    <a:pos x="8" y="36"/>
                  </a:cxn>
                  <a:cxn ang="0">
                    <a:pos x="8" y="36"/>
                  </a:cxn>
                  <a:cxn ang="0">
                    <a:pos x="0" y="44"/>
                  </a:cxn>
                  <a:cxn ang="0">
                    <a:pos x="0" y="44"/>
                  </a:cxn>
                  <a:cxn ang="0">
                    <a:pos x="0" y="36"/>
                  </a:cxn>
                  <a:cxn ang="0">
                    <a:pos x="0" y="27"/>
                  </a:cxn>
                </a:cxnLst>
                <a:rect l="0" t="0" r="r" b="b"/>
                <a:pathLst>
                  <a:path w="17" h="44">
                    <a:moveTo>
                      <a:pt x="0" y="27"/>
                    </a:moveTo>
                    <a:lnTo>
                      <a:pt x="0" y="27"/>
                    </a:lnTo>
                    <a:lnTo>
                      <a:pt x="0" y="18"/>
                    </a:lnTo>
                    <a:lnTo>
                      <a:pt x="8" y="9"/>
                    </a:lnTo>
                    <a:lnTo>
                      <a:pt x="8" y="9"/>
                    </a:lnTo>
                    <a:lnTo>
                      <a:pt x="17" y="0"/>
                    </a:lnTo>
                    <a:lnTo>
                      <a:pt x="17" y="9"/>
                    </a:lnTo>
                    <a:lnTo>
                      <a:pt x="8" y="18"/>
                    </a:lnTo>
                    <a:lnTo>
                      <a:pt x="17" y="18"/>
                    </a:lnTo>
                    <a:lnTo>
                      <a:pt x="8" y="27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6"/>
                    </a:lnTo>
                    <a:lnTo>
                      <a:pt x="0" y="27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74" name="Freeform 105"/>
              <p:cNvSpPr>
                <a:spLocks/>
              </p:cNvSpPr>
              <p:nvPr/>
            </p:nvSpPr>
            <p:spPr bwMode="auto">
              <a:xfrm>
                <a:off x="3762622" y="2069339"/>
                <a:ext cx="331383" cy="450788"/>
              </a:xfrm>
              <a:custGeom>
                <a:avLst/>
                <a:gdLst/>
                <a:ahLst/>
                <a:cxnLst>
                  <a:cxn ang="0">
                    <a:pos x="9" y="327"/>
                  </a:cxn>
                  <a:cxn ang="0">
                    <a:pos x="18" y="301"/>
                  </a:cxn>
                  <a:cxn ang="0">
                    <a:pos x="27" y="265"/>
                  </a:cxn>
                  <a:cxn ang="0">
                    <a:pos x="18" y="221"/>
                  </a:cxn>
                  <a:cxn ang="0">
                    <a:pos x="0" y="186"/>
                  </a:cxn>
                  <a:cxn ang="0">
                    <a:pos x="9" y="168"/>
                  </a:cxn>
                  <a:cxn ang="0">
                    <a:pos x="0" y="150"/>
                  </a:cxn>
                  <a:cxn ang="0">
                    <a:pos x="9" y="124"/>
                  </a:cxn>
                  <a:cxn ang="0">
                    <a:pos x="9" y="97"/>
                  </a:cxn>
                  <a:cxn ang="0">
                    <a:pos x="18" y="89"/>
                  </a:cxn>
                  <a:cxn ang="0">
                    <a:pos x="36" y="71"/>
                  </a:cxn>
                  <a:cxn ang="0">
                    <a:pos x="36" y="53"/>
                  </a:cxn>
                  <a:cxn ang="0">
                    <a:pos x="44" y="71"/>
                  </a:cxn>
                  <a:cxn ang="0">
                    <a:pos x="44" y="89"/>
                  </a:cxn>
                  <a:cxn ang="0">
                    <a:pos x="53" y="71"/>
                  </a:cxn>
                  <a:cxn ang="0">
                    <a:pos x="53" y="80"/>
                  </a:cxn>
                  <a:cxn ang="0">
                    <a:pos x="53" y="62"/>
                  </a:cxn>
                  <a:cxn ang="0">
                    <a:pos x="62" y="44"/>
                  </a:cxn>
                  <a:cxn ang="0">
                    <a:pos x="71" y="35"/>
                  </a:cxn>
                  <a:cxn ang="0">
                    <a:pos x="62" y="18"/>
                  </a:cxn>
                  <a:cxn ang="0">
                    <a:pos x="80" y="9"/>
                  </a:cxn>
                  <a:cxn ang="0">
                    <a:pos x="88" y="9"/>
                  </a:cxn>
                  <a:cxn ang="0">
                    <a:pos x="106" y="9"/>
                  </a:cxn>
                  <a:cxn ang="0">
                    <a:pos x="115" y="18"/>
                  </a:cxn>
                  <a:cxn ang="0">
                    <a:pos x="132" y="27"/>
                  </a:cxn>
                  <a:cxn ang="0">
                    <a:pos x="159" y="27"/>
                  </a:cxn>
                  <a:cxn ang="0">
                    <a:pos x="168" y="44"/>
                  </a:cxn>
                  <a:cxn ang="0">
                    <a:pos x="168" y="53"/>
                  </a:cxn>
                  <a:cxn ang="0">
                    <a:pos x="168" y="62"/>
                  </a:cxn>
                  <a:cxn ang="0">
                    <a:pos x="176" y="89"/>
                  </a:cxn>
                  <a:cxn ang="0">
                    <a:pos x="168" y="115"/>
                  </a:cxn>
                  <a:cxn ang="0">
                    <a:pos x="159" y="133"/>
                  </a:cxn>
                  <a:cxn ang="0">
                    <a:pos x="150" y="150"/>
                  </a:cxn>
                  <a:cxn ang="0">
                    <a:pos x="159" y="168"/>
                  </a:cxn>
                  <a:cxn ang="0">
                    <a:pos x="168" y="159"/>
                  </a:cxn>
                  <a:cxn ang="0">
                    <a:pos x="176" y="142"/>
                  </a:cxn>
                  <a:cxn ang="0">
                    <a:pos x="194" y="133"/>
                  </a:cxn>
                  <a:cxn ang="0">
                    <a:pos x="212" y="124"/>
                  </a:cxn>
                  <a:cxn ang="0">
                    <a:pos x="229" y="159"/>
                  </a:cxn>
                  <a:cxn ang="0">
                    <a:pos x="238" y="186"/>
                  </a:cxn>
                  <a:cxn ang="0">
                    <a:pos x="247" y="203"/>
                  </a:cxn>
                  <a:cxn ang="0">
                    <a:pos x="238" y="221"/>
                  </a:cxn>
                  <a:cxn ang="0">
                    <a:pos x="238" y="239"/>
                  </a:cxn>
                  <a:cxn ang="0">
                    <a:pos x="238" y="230"/>
                  </a:cxn>
                  <a:cxn ang="0">
                    <a:pos x="229" y="239"/>
                  </a:cxn>
                  <a:cxn ang="0">
                    <a:pos x="220" y="257"/>
                  </a:cxn>
                  <a:cxn ang="0">
                    <a:pos x="212" y="265"/>
                  </a:cxn>
                  <a:cxn ang="0">
                    <a:pos x="203" y="301"/>
                  </a:cxn>
                  <a:cxn ang="0">
                    <a:pos x="124" y="327"/>
                  </a:cxn>
                  <a:cxn ang="0">
                    <a:pos x="0" y="336"/>
                  </a:cxn>
                </a:cxnLst>
                <a:rect l="0" t="0" r="r" b="b"/>
                <a:pathLst>
                  <a:path w="247" h="336">
                    <a:moveTo>
                      <a:pt x="0" y="336"/>
                    </a:moveTo>
                    <a:lnTo>
                      <a:pt x="0" y="336"/>
                    </a:lnTo>
                    <a:lnTo>
                      <a:pt x="9" y="327"/>
                    </a:lnTo>
                    <a:lnTo>
                      <a:pt x="9" y="318"/>
                    </a:lnTo>
                    <a:lnTo>
                      <a:pt x="18" y="318"/>
                    </a:lnTo>
                    <a:lnTo>
                      <a:pt x="18" y="301"/>
                    </a:lnTo>
                    <a:lnTo>
                      <a:pt x="27" y="292"/>
                    </a:lnTo>
                    <a:lnTo>
                      <a:pt x="27" y="283"/>
                    </a:lnTo>
                    <a:lnTo>
                      <a:pt x="27" y="265"/>
                    </a:lnTo>
                    <a:lnTo>
                      <a:pt x="27" y="257"/>
                    </a:lnTo>
                    <a:lnTo>
                      <a:pt x="27" y="230"/>
                    </a:lnTo>
                    <a:lnTo>
                      <a:pt x="18" y="221"/>
                    </a:lnTo>
                    <a:lnTo>
                      <a:pt x="27" y="212"/>
                    </a:lnTo>
                    <a:lnTo>
                      <a:pt x="18" y="212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0" y="177"/>
                    </a:lnTo>
                    <a:lnTo>
                      <a:pt x="9" y="168"/>
                    </a:lnTo>
                    <a:lnTo>
                      <a:pt x="0" y="15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9" y="142"/>
                    </a:lnTo>
                    <a:lnTo>
                      <a:pt x="9" y="124"/>
                    </a:lnTo>
                    <a:lnTo>
                      <a:pt x="9" y="124"/>
                    </a:lnTo>
                    <a:lnTo>
                      <a:pt x="9" y="115"/>
                    </a:lnTo>
                    <a:lnTo>
                      <a:pt x="9" y="106"/>
                    </a:lnTo>
                    <a:lnTo>
                      <a:pt x="9" y="97"/>
                    </a:lnTo>
                    <a:lnTo>
                      <a:pt x="18" y="97"/>
                    </a:lnTo>
                    <a:lnTo>
                      <a:pt x="18" y="89"/>
                    </a:lnTo>
                    <a:lnTo>
                      <a:pt x="18" y="89"/>
                    </a:lnTo>
                    <a:lnTo>
                      <a:pt x="27" y="80"/>
                    </a:lnTo>
                    <a:lnTo>
                      <a:pt x="27" y="80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36" y="62"/>
                    </a:lnTo>
                    <a:lnTo>
                      <a:pt x="36" y="53"/>
                    </a:lnTo>
                    <a:lnTo>
                      <a:pt x="44" y="53"/>
                    </a:lnTo>
                    <a:lnTo>
                      <a:pt x="44" y="71"/>
                    </a:lnTo>
                    <a:lnTo>
                      <a:pt x="44" y="71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4" y="89"/>
                    </a:lnTo>
                    <a:lnTo>
                      <a:pt x="44" y="80"/>
                    </a:lnTo>
                    <a:lnTo>
                      <a:pt x="44" y="71"/>
                    </a:lnTo>
                    <a:lnTo>
                      <a:pt x="53" y="71"/>
                    </a:lnTo>
                    <a:lnTo>
                      <a:pt x="53" y="80"/>
                    </a:lnTo>
                    <a:lnTo>
                      <a:pt x="44" y="89"/>
                    </a:lnTo>
                    <a:lnTo>
                      <a:pt x="53" y="80"/>
                    </a:lnTo>
                    <a:lnTo>
                      <a:pt x="53" y="80"/>
                    </a:lnTo>
                    <a:lnTo>
                      <a:pt x="53" y="71"/>
                    </a:lnTo>
                    <a:lnTo>
                      <a:pt x="53" y="62"/>
                    </a:lnTo>
                    <a:lnTo>
                      <a:pt x="53" y="53"/>
                    </a:lnTo>
                    <a:lnTo>
                      <a:pt x="53" y="44"/>
                    </a:lnTo>
                    <a:lnTo>
                      <a:pt x="62" y="44"/>
                    </a:lnTo>
                    <a:lnTo>
                      <a:pt x="62" y="35"/>
                    </a:lnTo>
                    <a:lnTo>
                      <a:pt x="71" y="35"/>
                    </a:lnTo>
                    <a:lnTo>
                      <a:pt x="71" y="35"/>
                    </a:lnTo>
                    <a:lnTo>
                      <a:pt x="71" y="27"/>
                    </a:lnTo>
                    <a:lnTo>
                      <a:pt x="62" y="27"/>
                    </a:lnTo>
                    <a:lnTo>
                      <a:pt x="62" y="18"/>
                    </a:lnTo>
                    <a:lnTo>
                      <a:pt x="71" y="18"/>
                    </a:lnTo>
                    <a:lnTo>
                      <a:pt x="71" y="9"/>
                    </a:lnTo>
                    <a:lnTo>
                      <a:pt x="80" y="9"/>
                    </a:lnTo>
                    <a:lnTo>
                      <a:pt x="80" y="0"/>
                    </a:lnTo>
                    <a:lnTo>
                      <a:pt x="88" y="9"/>
                    </a:lnTo>
                    <a:lnTo>
                      <a:pt x="88" y="9"/>
                    </a:lnTo>
                    <a:lnTo>
                      <a:pt x="97" y="9"/>
                    </a:lnTo>
                    <a:lnTo>
                      <a:pt x="106" y="9"/>
                    </a:lnTo>
                    <a:lnTo>
                      <a:pt x="106" y="9"/>
                    </a:lnTo>
                    <a:lnTo>
                      <a:pt x="115" y="9"/>
                    </a:lnTo>
                    <a:lnTo>
                      <a:pt x="115" y="18"/>
                    </a:lnTo>
                    <a:lnTo>
                      <a:pt x="115" y="18"/>
                    </a:lnTo>
                    <a:lnTo>
                      <a:pt x="124" y="18"/>
                    </a:lnTo>
                    <a:lnTo>
                      <a:pt x="132" y="18"/>
                    </a:lnTo>
                    <a:lnTo>
                      <a:pt x="132" y="27"/>
                    </a:lnTo>
                    <a:lnTo>
                      <a:pt x="141" y="27"/>
                    </a:lnTo>
                    <a:lnTo>
                      <a:pt x="150" y="27"/>
                    </a:lnTo>
                    <a:lnTo>
                      <a:pt x="159" y="27"/>
                    </a:lnTo>
                    <a:lnTo>
                      <a:pt x="159" y="35"/>
                    </a:lnTo>
                    <a:lnTo>
                      <a:pt x="159" y="35"/>
                    </a:lnTo>
                    <a:lnTo>
                      <a:pt x="168" y="44"/>
                    </a:lnTo>
                    <a:lnTo>
                      <a:pt x="168" y="44"/>
                    </a:lnTo>
                    <a:lnTo>
                      <a:pt x="168" y="44"/>
                    </a:lnTo>
                    <a:lnTo>
                      <a:pt x="168" y="53"/>
                    </a:lnTo>
                    <a:lnTo>
                      <a:pt x="159" y="53"/>
                    </a:lnTo>
                    <a:lnTo>
                      <a:pt x="168" y="62"/>
                    </a:lnTo>
                    <a:lnTo>
                      <a:pt x="168" y="62"/>
                    </a:lnTo>
                    <a:lnTo>
                      <a:pt x="176" y="71"/>
                    </a:lnTo>
                    <a:lnTo>
                      <a:pt x="176" y="80"/>
                    </a:lnTo>
                    <a:lnTo>
                      <a:pt x="176" y="89"/>
                    </a:lnTo>
                    <a:lnTo>
                      <a:pt x="176" y="106"/>
                    </a:lnTo>
                    <a:lnTo>
                      <a:pt x="168" y="106"/>
                    </a:lnTo>
                    <a:lnTo>
                      <a:pt x="168" y="115"/>
                    </a:lnTo>
                    <a:lnTo>
                      <a:pt x="168" y="115"/>
                    </a:lnTo>
                    <a:lnTo>
                      <a:pt x="168" y="124"/>
                    </a:lnTo>
                    <a:lnTo>
                      <a:pt x="159" y="133"/>
                    </a:lnTo>
                    <a:lnTo>
                      <a:pt x="159" y="133"/>
                    </a:lnTo>
                    <a:lnTo>
                      <a:pt x="150" y="142"/>
                    </a:lnTo>
                    <a:lnTo>
                      <a:pt x="150" y="150"/>
                    </a:lnTo>
                    <a:lnTo>
                      <a:pt x="150" y="159"/>
                    </a:lnTo>
                    <a:lnTo>
                      <a:pt x="159" y="168"/>
                    </a:lnTo>
                    <a:lnTo>
                      <a:pt x="159" y="168"/>
                    </a:lnTo>
                    <a:lnTo>
                      <a:pt x="168" y="168"/>
                    </a:lnTo>
                    <a:lnTo>
                      <a:pt x="168" y="159"/>
                    </a:lnTo>
                    <a:lnTo>
                      <a:pt x="168" y="159"/>
                    </a:lnTo>
                    <a:lnTo>
                      <a:pt x="176" y="150"/>
                    </a:lnTo>
                    <a:lnTo>
                      <a:pt x="176" y="142"/>
                    </a:lnTo>
                    <a:lnTo>
                      <a:pt x="176" y="142"/>
                    </a:lnTo>
                    <a:lnTo>
                      <a:pt x="185" y="142"/>
                    </a:lnTo>
                    <a:lnTo>
                      <a:pt x="185" y="133"/>
                    </a:lnTo>
                    <a:lnTo>
                      <a:pt x="194" y="133"/>
                    </a:lnTo>
                    <a:lnTo>
                      <a:pt x="203" y="124"/>
                    </a:lnTo>
                    <a:lnTo>
                      <a:pt x="203" y="124"/>
                    </a:lnTo>
                    <a:lnTo>
                      <a:pt x="212" y="124"/>
                    </a:lnTo>
                    <a:lnTo>
                      <a:pt x="212" y="133"/>
                    </a:lnTo>
                    <a:lnTo>
                      <a:pt x="220" y="142"/>
                    </a:lnTo>
                    <a:lnTo>
                      <a:pt x="229" y="159"/>
                    </a:lnTo>
                    <a:lnTo>
                      <a:pt x="229" y="168"/>
                    </a:lnTo>
                    <a:lnTo>
                      <a:pt x="229" y="177"/>
                    </a:lnTo>
                    <a:lnTo>
                      <a:pt x="238" y="186"/>
                    </a:lnTo>
                    <a:lnTo>
                      <a:pt x="238" y="195"/>
                    </a:lnTo>
                    <a:lnTo>
                      <a:pt x="247" y="203"/>
                    </a:lnTo>
                    <a:lnTo>
                      <a:pt x="247" y="203"/>
                    </a:lnTo>
                    <a:lnTo>
                      <a:pt x="247" y="203"/>
                    </a:lnTo>
                    <a:lnTo>
                      <a:pt x="238" y="212"/>
                    </a:lnTo>
                    <a:lnTo>
                      <a:pt x="238" y="221"/>
                    </a:lnTo>
                    <a:lnTo>
                      <a:pt x="247" y="221"/>
                    </a:lnTo>
                    <a:lnTo>
                      <a:pt x="238" y="230"/>
                    </a:lnTo>
                    <a:lnTo>
                      <a:pt x="238" y="239"/>
                    </a:lnTo>
                    <a:lnTo>
                      <a:pt x="238" y="239"/>
                    </a:lnTo>
                    <a:lnTo>
                      <a:pt x="238" y="239"/>
                    </a:lnTo>
                    <a:lnTo>
                      <a:pt x="238" y="230"/>
                    </a:lnTo>
                    <a:lnTo>
                      <a:pt x="229" y="230"/>
                    </a:lnTo>
                    <a:lnTo>
                      <a:pt x="229" y="230"/>
                    </a:lnTo>
                    <a:lnTo>
                      <a:pt x="229" y="239"/>
                    </a:lnTo>
                    <a:lnTo>
                      <a:pt x="220" y="239"/>
                    </a:lnTo>
                    <a:lnTo>
                      <a:pt x="220" y="257"/>
                    </a:lnTo>
                    <a:lnTo>
                      <a:pt x="220" y="257"/>
                    </a:lnTo>
                    <a:lnTo>
                      <a:pt x="212" y="265"/>
                    </a:lnTo>
                    <a:lnTo>
                      <a:pt x="212" y="265"/>
                    </a:lnTo>
                    <a:lnTo>
                      <a:pt x="212" y="265"/>
                    </a:lnTo>
                    <a:lnTo>
                      <a:pt x="212" y="274"/>
                    </a:lnTo>
                    <a:lnTo>
                      <a:pt x="212" y="283"/>
                    </a:lnTo>
                    <a:lnTo>
                      <a:pt x="203" y="301"/>
                    </a:lnTo>
                    <a:lnTo>
                      <a:pt x="194" y="310"/>
                    </a:lnTo>
                    <a:lnTo>
                      <a:pt x="176" y="318"/>
                    </a:lnTo>
                    <a:lnTo>
                      <a:pt x="124" y="327"/>
                    </a:lnTo>
                    <a:lnTo>
                      <a:pt x="115" y="318"/>
                    </a:lnTo>
                    <a:lnTo>
                      <a:pt x="36" y="327"/>
                    </a:lnTo>
                    <a:lnTo>
                      <a:pt x="0" y="336"/>
                    </a:lnTo>
                    <a:lnTo>
                      <a:pt x="0" y="336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75" name="Freeform 106"/>
              <p:cNvSpPr>
                <a:spLocks/>
              </p:cNvSpPr>
              <p:nvPr/>
            </p:nvSpPr>
            <p:spPr bwMode="auto">
              <a:xfrm>
                <a:off x="3762622" y="2069339"/>
                <a:ext cx="331383" cy="450788"/>
              </a:xfrm>
              <a:custGeom>
                <a:avLst/>
                <a:gdLst/>
                <a:ahLst/>
                <a:cxnLst>
                  <a:cxn ang="0">
                    <a:pos x="9" y="327"/>
                  </a:cxn>
                  <a:cxn ang="0">
                    <a:pos x="18" y="301"/>
                  </a:cxn>
                  <a:cxn ang="0">
                    <a:pos x="27" y="265"/>
                  </a:cxn>
                  <a:cxn ang="0">
                    <a:pos x="18" y="221"/>
                  </a:cxn>
                  <a:cxn ang="0">
                    <a:pos x="0" y="186"/>
                  </a:cxn>
                  <a:cxn ang="0">
                    <a:pos x="9" y="168"/>
                  </a:cxn>
                  <a:cxn ang="0">
                    <a:pos x="0" y="150"/>
                  </a:cxn>
                  <a:cxn ang="0">
                    <a:pos x="9" y="124"/>
                  </a:cxn>
                  <a:cxn ang="0">
                    <a:pos x="9" y="97"/>
                  </a:cxn>
                  <a:cxn ang="0">
                    <a:pos x="18" y="89"/>
                  </a:cxn>
                  <a:cxn ang="0">
                    <a:pos x="36" y="71"/>
                  </a:cxn>
                  <a:cxn ang="0">
                    <a:pos x="36" y="53"/>
                  </a:cxn>
                  <a:cxn ang="0">
                    <a:pos x="44" y="71"/>
                  </a:cxn>
                  <a:cxn ang="0">
                    <a:pos x="44" y="89"/>
                  </a:cxn>
                  <a:cxn ang="0">
                    <a:pos x="53" y="71"/>
                  </a:cxn>
                  <a:cxn ang="0">
                    <a:pos x="53" y="80"/>
                  </a:cxn>
                  <a:cxn ang="0">
                    <a:pos x="53" y="62"/>
                  </a:cxn>
                  <a:cxn ang="0">
                    <a:pos x="62" y="44"/>
                  </a:cxn>
                  <a:cxn ang="0">
                    <a:pos x="71" y="35"/>
                  </a:cxn>
                  <a:cxn ang="0">
                    <a:pos x="62" y="18"/>
                  </a:cxn>
                  <a:cxn ang="0">
                    <a:pos x="80" y="9"/>
                  </a:cxn>
                  <a:cxn ang="0">
                    <a:pos x="88" y="9"/>
                  </a:cxn>
                  <a:cxn ang="0">
                    <a:pos x="106" y="9"/>
                  </a:cxn>
                  <a:cxn ang="0">
                    <a:pos x="115" y="18"/>
                  </a:cxn>
                  <a:cxn ang="0">
                    <a:pos x="132" y="27"/>
                  </a:cxn>
                  <a:cxn ang="0">
                    <a:pos x="159" y="27"/>
                  </a:cxn>
                  <a:cxn ang="0">
                    <a:pos x="168" y="44"/>
                  </a:cxn>
                  <a:cxn ang="0">
                    <a:pos x="168" y="53"/>
                  </a:cxn>
                  <a:cxn ang="0">
                    <a:pos x="168" y="62"/>
                  </a:cxn>
                  <a:cxn ang="0">
                    <a:pos x="176" y="89"/>
                  </a:cxn>
                  <a:cxn ang="0">
                    <a:pos x="168" y="115"/>
                  </a:cxn>
                  <a:cxn ang="0">
                    <a:pos x="159" y="133"/>
                  </a:cxn>
                  <a:cxn ang="0">
                    <a:pos x="150" y="150"/>
                  </a:cxn>
                  <a:cxn ang="0">
                    <a:pos x="159" y="168"/>
                  </a:cxn>
                  <a:cxn ang="0">
                    <a:pos x="168" y="159"/>
                  </a:cxn>
                  <a:cxn ang="0">
                    <a:pos x="176" y="142"/>
                  </a:cxn>
                  <a:cxn ang="0">
                    <a:pos x="194" y="133"/>
                  </a:cxn>
                  <a:cxn ang="0">
                    <a:pos x="212" y="124"/>
                  </a:cxn>
                  <a:cxn ang="0">
                    <a:pos x="229" y="159"/>
                  </a:cxn>
                  <a:cxn ang="0">
                    <a:pos x="238" y="186"/>
                  </a:cxn>
                  <a:cxn ang="0">
                    <a:pos x="247" y="203"/>
                  </a:cxn>
                  <a:cxn ang="0">
                    <a:pos x="238" y="221"/>
                  </a:cxn>
                  <a:cxn ang="0">
                    <a:pos x="238" y="239"/>
                  </a:cxn>
                  <a:cxn ang="0">
                    <a:pos x="238" y="230"/>
                  </a:cxn>
                  <a:cxn ang="0">
                    <a:pos x="229" y="239"/>
                  </a:cxn>
                  <a:cxn ang="0">
                    <a:pos x="220" y="257"/>
                  </a:cxn>
                  <a:cxn ang="0">
                    <a:pos x="212" y="265"/>
                  </a:cxn>
                  <a:cxn ang="0">
                    <a:pos x="203" y="301"/>
                  </a:cxn>
                  <a:cxn ang="0">
                    <a:pos x="124" y="327"/>
                  </a:cxn>
                  <a:cxn ang="0">
                    <a:pos x="0" y="336"/>
                  </a:cxn>
                </a:cxnLst>
                <a:rect l="0" t="0" r="r" b="b"/>
                <a:pathLst>
                  <a:path w="247" h="336">
                    <a:moveTo>
                      <a:pt x="0" y="336"/>
                    </a:moveTo>
                    <a:lnTo>
                      <a:pt x="0" y="336"/>
                    </a:lnTo>
                    <a:lnTo>
                      <a:pt x="9" y="327"/>
                    </a:lnTo>
                    <a:lnTo>
                      <a:pt x="9" y="318"/>
                    </a:lnTo>
                    <a:lnTo>
                      <a:pt x="18" y="318"/>
                    </a:lnTo>
                    <a:lnTo>
                      <a:pt x="18" y="301"/>
                    </a:lnTo>
                    <a:lnTo>
                      <a:pt x="27" y="292"/>
                    </a:lnTo>
                    <a:lnTo>
                      <a:pt x="27" y="283"/>
                    </a:lnTo>
                    <a:lnTo>
                      <a:pt x="27" y="265"/>
                    </a:lnTo>
                    <a:lnTo>
                      <a:pt x="27" y="257"/>
                    </a:lnTo>
                    <a:lnTo>
                      <a:pt x="27" y="230"/>
                    </a:lnTo>
                    <a:lnTo>
                      <a:pt x="18" y="221"/>
                    </a:lnTo>
                    <a:lnTo>
                      <a:pt x="27" y="212"/>
                    </a:lnTo>
                    <a:lnTo>
                      <a:pt x="18" y="212"/>
                    </a:lnTo>
                    <a:lnTo>
                      <a:pt x="0" y="186"/>
                    </a:lnTo>
                    <a:lnTo>
                      <a:pt x="0" y="186"/>
                    </a:lnTo>
                    <a:lnTo>
                      <a:pt x="0" y="177"/>
                    </a:lnTo>
                    <a:lnTo>
                      <a:pt x="9" y="168"/>
                    </a:lnTo>
                    <a:lnTo>
                      <a:pt x="0" y="15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9" y="142"/>
                    </a:lnTo>
                    <a:lnTo>
                      <a:pt x="9" y="124"/>
                    </a:lnTo>
                    <a:lnTo>
                      <a:pt x="9" y="124"/>
                    </a:lnTo>
                    <a:lnTo>
                      <a:pt x="9" y="115"/>
                    </a:lnTo>
                    <a:lnTo>
                      <a:pt x="9" y="106"/>
                    </a:lnTo>
                    <a:lnTo>
                      <a:pt x="9" y="97"/>
                    </a:lnTo>
                    <a:lnTo>
                      <a:pt x="18" y="97"/>
                    </a:lnTo>
                    <a:lnTo>
                      <a:pt x="18" y="89"/>
                    </a:lnTo>
                    <a:lnTo>
                      <a:pt x="18" y="89"/>
                    </a:lnTo>
                    <a:lnTo>
                      <a:pt x="27" y="80"/>
                    </a:lnTo>
                    <a:lnTo>
                      <a:pt x="27" y="80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36" y="62"/>
                    </a:lnTo>
                    <a:lnTo>
                      <a:pt x="36" y="53"/>
                    </a:lnTo>
                    <a:lnTo>
                      <a:pt x="44" y="53"/>
                    </a:lnTo>
                    <a:lnTo>
                      <a:pt x="44" y="71"/>
                    </a:lnTo>
                    <a:lnTo>
                      <a:pt x="44" y="71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4" y="89"/>
                    </a:lnTo>
                    <a:lnTo>
                      <a:pt x="44" y="80"/>
                    </a:lnTo>
                    <a:lnTo>
                      <a:pt x="44" y="71"/>
                    </a:lnTo>
                    <a:lnTo>
                      <a:pt x="53" y="71"/>
                    </a:lnTo>
                    <a:lnTo>
                      <a:pt x="53" y="80"/>
                    </a:lnTo>
                    <a:lnTo>
                      <a:pt x="44" y="89"/>
                    </a:lnTo>
                    <a:lnTo>
                      <a:pt x="53" y="80"/>
                    </a:lnTo>
                    <a:lnTo>
                      <a:pt x="53" y="80"/>
                    </a:lnTo>
                    <a:lnTo>
                      <a:pt x="53" y="71"/>
                    </a:lnTo>
                    <a:lnTo>
                      <a:pt x="53" y="62"/>
                    </a:lnTo>
                    <a:lnTo>
                      <a:pt x="53" y="53"/>
                    </a:lnTo>
                    <a:lnTo>
                      <a:pt x="53" y="44"/>
                    </a:lnTo>
                    <a:lnTo>
                      <a:pt x="62" y="44"/>
                    </a:lnTo>
                    <a:lnTo>
                      <a:pt x="62" y="35"/>
                    </a:lnTo>
                    <a:lnTo>
                      <a:pt x="71" y="35"/>
                    </a:lnTo>
                    <a:lnTo>
                      <a:pt x="71" y="35"/>
                    </a:lnTo>
                    <a:lnTo>
                      <a:pt x="71" y="27"/>
                    </a:lnTo>
                    <a:lnTo>
                      <a:pt x="62" y="27"/>
                    </a:lnTo>
                    <a:lnTo>
                      <a:pt x="62" y="18"/>
                    </a:lnTo>
                    <a:lnTo>
                      <a:pt x="71" y="18"/>
                    </a:lnTo>
                    <a:lnTo>
                      <a:pt x="71" y="9"/>
                    </a:lnTo>
                    <a:lnTo>
                      <a:pt x="80" y="9"/>
                    </a:lnTo>
                    <a:lnTo>
                      <a:pt x="80" y="0"/>
                    </a:lnTo>
                    <a:lnTo>
                      <a:pt x="88" y="9"/>
                    </a:lnTo>
                    <a:lnTo>
                      <a:pt x="88" y="9"/>
                    </a:lnTo>
                    <a:lnTo>
                      <a:pt x="97" y="9"/>
                    </a:lnTo>
                    <a:lnTo>
                      <a:pt x="106" y="9"/>
                    </a:lnTo>
                    <a:lnTo>
                      <a:pt x="106" y="9"/>
                    </a:lnTo>
                    <a:lnTo>
                      <a:pt x="115" y="9"/>
                    </a:lnTo>
                    <a:lnTo>
                      <a:pt x="115" y="18"/>
                    </a:lnTo>
                    <a:lnTo>
                      <a:pt x="115" y="18"/>
                    </a:lnTo>
                    <a:lnTo>
                      <a:pt x="124" y="18"/>
                    </a:lnTo>
                    <a:lnTo>
                      <a:pt x="132" y="18"/>
                    </a:lnTo>
                    <a:lnTo>
                      <a:pt x="132" y="27"/>
                    </a:lnTo>
                    <a:lnTo>
                      <a:pt x="141" y="27"/>
                    </a:lnTo>
                    <a:lnTo>
                      <a:pt x="150" y="27"/>
                    </a:lnTo>
                    <a:lnTo>
                      <a:pt x="159" y="27"/>
                    </a:lnTo>
                    <a:lnTo>
                      <a:pt x="159" y="35"/>
                    </a:lnTo>
                    <a:lnTo>
                      <a:pt x="159" y="35"/>
                    </a:lnTo>
                    <a:lnTo>
                      <a:pt x="168" y="44"/>
                    </a:lnTo>
                    <a:lnTo>
                      <a:pt x="168" y="44"/>
                    </a:lnTo>
                    <a:lnTo>
                      <a:pt x="168" y="44"/>
                    </a:lnTo>
                    <a:lnTo>
                      <a:pt x="168" y="53"/>
                    </a:lnTo>
                    <a:lnTo>
                      <a:pt x="159" y="53"/>
                    </a:lnTo>
                    <a:lnTo>
                      <a:pt x="168" y="62"/>
                    </a:lnTo>
                    <a:lnTo>
                      <a:pt x="168" y="62"/>
                    </a:lnTo>
                    <a:lnTo>
                      <a:pt x="176" y="71"/>
                    </a:lnTo>
                    <a:lnTo>
                      <a:pt x="176" y="80"/>
                    </a:lnTo>
                    <a:lnTo>
                      <a:pt x="176" y="89"/>
                    </a:lnTo>
                    <a:lnTo>
                      <a:pt x="176" y="106"/>
                    </a:lnTo>
                    <a:lnTo>
                      <a:pt x="168" y="106"/>
                    </a:lnTo>
                    <a:lnTo>
                      <a:pt x="168" y="115"/>
                    </a:lnTo>
                    <a:lnTo>
                      <a:pt x="168" y="115"/>
                    </a:lnTo>
                    <a:lnTo>
                      <a:pt x="168" y="124"/>
                    </a:lnTo>
                    <a:lnTo>
                      <a:pt x="159" y="133"/>
                    </a:lnTo>
                    <a:lnTo>
                      <a:pt x="159" y="133"/>
                    </a:lnTo>
                    <a:lnTo>
                      <a:pt x="150" y="142"/>
                    </a:lnTo>
                    <a:lnTo>
                      <a:pt x="150" y="150"/>
                    </a:lnTo>
                    <a:lnTo>
                      <a:pt x="150" y="159"/>
                    </a:lnTo>
                    <a:lnTo>
                      <a:pt x="159" y="168"/>
                    </a:lnTo>
                    <a:lnTo>
                      <a:pt x="159" y="168"/>
                    </a:lnTo>
                    <a:lnTo>
                      <a:pt x="168" y="168"/>
                    </a:lnTo>
                    <a:lnTo>
                      <a:pt x="168" y="159"/>
                    </a:lnTo>
                    <a:lnTo>
                      <a:pt x="168" y="159"/>
                    </a:lnTo>
                    <a:lnTo>
                      <a:pt x="176" y="150"/>
                    </a:lnTo>
                    <a:lnTo>
                      <a:pt x="176" y="142"/>
                    </a:lnTo>
                    <a:lnTo>
                      <a:pt x="176" y="142"/>
                    </a:lnTo>
                    <a:lnTo>
                      <a:pt x="185" y="142"/>
                    </a:lnTo>
                    <a:lnTo>
                      <a:pt x="185" y="133"/>
                    </a:lnTo>
                    <a:lnTo>
                      <a:pt x="194" y="133"/>
                    </a:lnTo>
                    <a:lnTo>
                      <a:pt x="203" y="124"/>
                    </a:lnTo>
                    <a:lnTo>
                      <a:pt x="203" y="124"/>
                    </a:lnTo>
                    <a:lnTo>
                      <a:pt x="212" y="124"/>
                    </a:lnTo>
                    <a:lnTo>
                      <a:pt x="212" y="133"/>
                    </a:lnTo>
                    <a:lnTo>
                      <a:pt x="220" y="142"/>
                    </a:lnTo>
                    <a:lnTo>
                      <a:pt x="229" y="159"/>
                    </a:lnTo>
                    <a:lnTo>
                      <a:pt x="229" y="168"/>
                    </a:lnTo>
                    <a:lnTo>
                      <a:pt x="229" y="177"/>
                    </a:lnTo>
                    <a:lnTo>
                      <a:pt x="238" y="186"/>
                    </a:lnTo>
                    <a:lnTo>
                      <a:pt x="238" y="195"/>
                    </a:lnTo>
                    <a:lnTo>
                      <a:pt x="247" y="203"/>
                    </a:lnTo>
                    <a:lnTo>
                      <a:pt x="247" y="203"/>
                    </a:lnTo>
                    <a:lnTo>
                      <a:pt x="247" y="203"/>
                    </a:lnTo>
                    <a:lnTo>
                      <a:pt x="238" y="212"/>
                    </a:lnTo>
                    <a:lnTo>
                      <a:pt x="238" y="221"/>
                    </a:lnTo>
                    <a:lnTo>
                      <a:pt x="247" y="221"/>
                    </a:lnTo>
                    <a:lnTo>
                      <a:pt x="238" y="230"/>
                    </a:lnTo>
                    <a:lnTo>
                      <a:pt x="238" y="239"/>
                    </a:lnTo>
                    <a:lnTo>
                      <a:pt x="238" y="239"/>
                    </a:lnTo>
                    <a:lnTo>
                      <a:pt x="238" y="239"/>
                    </a:lnTo>
                    <a:lnTo>
                      <a:pt x="238" y="230"/>
                    </a:lnTo>
                    <a:lnTo>
                      <a:pt x="229" y="230"/>
                    </a:lnTo>
                    <a:lnTo>
                      <a:pt x="229" y="230"/>
                    </a:lnTo>
                    <a:lnTo>
                      <a:pt x="229" y="239"/>
                    </a:lnTo>
                    <a:lnTo>
                      <a:pt x="220" y="239"/>
                    </a:lnTo>
                    <a:lnTo>
                      <a:pt x="220" y="257"/>
                    </a:lnTo>
                    <a:lnTo>
                      <a:pt x="220" y="257"/>
                    </a:lnTo>
                    <a:lnTo>
                      <a:pt x="212" y="265"/>
                    </a:lnTo>
                    <a:lnTo>
                      <a:pt x="212" y="265"/>
                    </a:lnTo>
                    <a:lnTo>
                      <a:pt x="212" y="265"/>
                    </a:lnTo>
                    <a:lnTo>
                      <a:pt x="212" y="274"/>
                    </a:lnTo>
                    <a:lnTo>
                      <a:pt x="212" y="283"/>
                    </a:lnTo>
                    <a:lnTo>
                      <a:pt x="203" y="301"/>
                    </a:lnTo>
                    <a:lnTo>
                      <a:pt x="194" y="310"/>
                    </a:lnTo>
                    <a:lnTo>
                      <a:pt x="176" y="318"/>
                    </a:lnTo>
                    <a:lnTo>
                      <a:pt x="124" y="327"/>
                    </a:lnTo>
                    <a:lnTo>
                      <a:pt x="115" y="318"/>
                    </a:lnTo>
                    <a:lnTo>
                      <a:pt x="36" y="327"/>
                    </a:lnTo>
                    <a:lnTo>
                      <a:pt x="0" y="336"/>
                    </a:lnTo>
                    <a:lnTo>
                      <a:pt x="0" y="336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76" name="Freeform 107"/>
              <p:cNvSpPr>
                <a:spLocks/>
              </p:cNvSpPr>
              <p:nvPr/>
            </p:nvSpPr>
            <p:spPr bwMode="auto">
              <a:xfrm>
                <a:off x="3456730" y="1951276"/>
                <a:ext cx="472254" cy="213320"/>
              </a:xfrm>
              <a:custGeom>
                <a:avLst/>
                <a:gdLst/>
                <a:ahLst/>
                <a:cxnLst>
                  <a:cxn ang="0">
                    <a:pos x="17" y="53"/>
                  </a:cxn>
                  <a:cxn ang="0">
                    <a:pos x="35" y="35"/>
                  </a:cxn>
                  <a:cxn ang="0">
                    <a:pos x="52" y="35"/>
                  </a:cxn>
                  <a:cxn ang="0">
                    <a:pos x="70" y="17"/>
                  </a:cxn>
                  <a:cxn ang="0">
                    <a:pos x="88" y="9"/>
                  </a:cxn>
                  <a:cxn ang="0">
                    <a:pos x="96" y="26"/>
                  </a:cxn>
                  <a:cxn ang="0">
                    <a:pos x="105" y="26"/>
                  </a:cxn>
                  <a:cxn ang="0">
                    <a:pos x="105" y="26"/>
                  </a:cxn>
                  <a:cxn ang="0">
                    <a:pos x="123" y="26"/>
                  </a:cxn>
                  <a:cxn ang="0">
                    <a:pos x="140" y="26"/>
                  </a:cxn>
                  <a:cxn ang="0">
                    <a:pos x="158" y="44"/>
                  </a:cxn>
                  <a:cxn ang="0">
                    <a:pos x="167" y="53"/>
                  </a:cxn>
                  <a:cxn ang="0">
                    <a:pos x="193" y="53"/>
                  </a:cxn>
                  <a:cxn ang="0">
                    <a:pos x="211" y="44"/>
                  </a:cxn>
                  <a:cxn ang="0">
                    <a:pos x="237" y="26"/>
                  </a:cxn>
                  <a:cxn ang="0">
                    <a:pos x="264" y="26"/>
                  </a:cxn>
                  <a:cxn ang="0">
                    <a:pos x="290" y="17"/>
                  </a:cxn>
                  <a:cxn ang="0">
                    <a:pos x="299" y="44"/>
                  </a:cxn>
                  <a:cxn ang="0">
                    <a:pos x="316" y="35"/>
                  </a:cxn>
                  <a:cxn ang="0">
                    <a:pos x="325" y="35"/>
                  </a:cxn>
                  <a:cxn ang="0">
                    <a:pos x="334" y="44"/>
                  </a:cxn>
                  <a:cxn ang="0">
                    <a:pos x="343" y="53"/>
                  </a:cxn>
                  <a:cxn ang="0">
                    <a:pos x="352" y="62"/>
                  </a:cxn>
                  <a:cxn ang="0">
                    <a:pos x="325" y="70"/>
                  </a:cxn>
                  <a:cxn ang="0">
                    <a:pos x="308" y="70"/>
                  </a:cxn>
                  <a:cxn ang="0">
                    <a:pos x="308" y="88"/>
                  </a:cxn>
                  <a:cxn ang="0">
                    <a:pos x="281" y="70"/>
                  </a:cxn>
                  <a:cxn ang="0">
                    <a:pos x="264" y="79"/>
                  </a:cxn>
                  <a:cxn ang="0">
                    <a:pos x="237" y="88"/>
                  </a:cxn>
                  <a:cxn ang="0">
                    <a:pos x="228" y="88"/>
                  </a:cxn>
                  <a:cxn ang="0">
                    <a:pos x="220" y="106"/>
                  </a:cxn>
                  <a:cxn ang="0">
                    <a:pos x="202" y="115"/>
                  </a:cxn>
                  <a:cxn ang="0">
                    <a:pos x="211" y="97"/>
                  </a:cxn>
                  <a:cxn ang="0">
                    <a:pos x="193" y="106"/>
                  </a:cxn>
                  <a:cxn ang="0">
                    <a:pos x="193" y="106"/>
                  </a:cxn>
                  <a:cxn ang="0">
                    <a:pos x="184" y="106"/>
                  </a:cxn>
                  <a:cxn ang="0">
                    <a:pos x="176" y="123"/>
                  </a:cxn>
                  <a:cxn ang="0">
                    <a:pos x="158" y="159"/>
                  </a:cxn>
                  <a:cxn ang="0">
                    <a:pos x="158" y="159"/>
                  </a:cxn>
                  <a:cxn ang="0">
                    <a:pos x="158" y="141"/>
                  </a:cxn>
                  <a:cxn ang="0">
                    <a:pos x="140" y="141"/>
                  </a:cxn>
                  <a:cxn ang="0">
                    <a:pos x="140" y="123"/>
                  </a:cxn>
                  <a:cxn ang="0">
                    <a:pos x="132" y="115"/>
                  </a:cxn>
                  <a:cxn ang="0">
                    <a:pos x="123" y="97"/>
                  </a:cxn>
                  <a:cxn ang="0">
                    <a:pos x="96" y="97"/>
                  </a:cxn>
                  <a:cxn ang="0">
                    <a:pos x="70" y="88"/>
                  </a:cxn>
                  <a:cxn ang="0">
                    <a:pos x="0" y="62"/>
                  </a:cxn>
                </a:cxnLst>
                <a:rect l="0" t="0" r="r" b="b"/>
                <a:pathLst>
                  <a:path w="352" h="159">
                    <a:moveTo>
                      <a:pt x="0" y="62"/>
                    </a:moveTo>
                    <a:lnTo>
                      <a:pt x="0" y="53"/>
                    </a:lnTo>
                    <a:lnTo>
                      <a:pt x="17" y="53"/>
                    </a:lnTo>
                    <a:lnTo>
                      <a:pt x="26" y="44"/>
                    </a:lnTo>
                    <a:lnTo>
                      <a:pt x="35" y="35"/>
                    </a:lnTo>
                    <a:lnTo>
                      <a:pt x="35" y="35"/>
                    </a:lnTo>
                    <a:lnTo>
                      <a:pt x="44" y="35"/>
                    </a:lnTo>
                    <a:lnTo>
                      <a:pt x="44" y="35"/>
                    </a:lnTo>
                    <a:lnTo>
                      <a:pt x="52" y="35"/>
                    </a:lnTo>
                    <a:lnTo>
                      <a:pt x="52" y="26"/>
                    </a:lnTo>
                    <a:lnTo>
                      <a:pt x="61" y="26"/>
                    </a:lnTo>
                    <a:lnTo>
                      <a:pt x="70" y="17"/>
                    </a:lnTo>
                    <a:lnTo>
                      <a:pt x="70" y="17"/>
                    </a:lnTo>
                    <a:lnTo>
                      <a:pt x="88" y="0"/>
                    </a:lnTo>
                    <a:lnTo>
                      <a:pt x="88" y="9"/>
                    </a:lnTo>
                    <a:lnTo>
                      <a:pt x="88" y="9"/>
                    </a:lnTo>
                    <a:lnTo>
                      <a:pt x="96" y="17"/>
                    </a:lnTo>
                    <a:lnTo>
                      <a:pt x="96" y="26"/>
                    </a:lnTo>
                    <a:lnTo>
                      <a:pt x="96" y="35"/>
                    </a:lnTo>
                    <a:lnTo>
                      <a:pt x="105" y="35"/>
                    </a:lnTo>
                    <a:lnTo>
                      <a:pt x="105" y="26"/>
                    </a:lnTo>
                    <a:lnTo>
                      <a:pt x="105" y="26"/>
                    </a:lnTo>
                    <a:lnTo>
                      <a:pt x="114" y="17"/>
                    </a:lnTo>
                    <a:lnTo>
                      <a:pt x="105" y="26"/>
                    </a:lnTo>
                    <a:lnTo>
                      <a:pt x="114" y="26"/>
                    </a:lnTo>
                    <a:lnTo>
                      <a:pt x="114" y="26"/>
                    </a:lnTo>
                    <a:lnTo>
                      <a:pt x="123" y="26"/>
                    </a:lnTo>
                    <a:lnTo>
                      <a:pt x="132" y="26"/>
                    </a:lnTo>
                    <a:lnTo>
                      <a:pt x="132" y="26"/>
                    </a:lnTo>
                    <a:lnTo>
                      <a:pt x="140" y="26"/>
                    </a:lnTo>
                    <a:lnTo>
                      <a:pt x="149" y="26"/>
                    </a:lnTo>
                    <a:lnTo>
                      <a:pt x="149" y="35"/>
                    </a:lnTo>
                    <a:lnTo>
                      <a:pt x="158" y="44"/>
                    </a:lnTo>
                    <a:lnTo>
                      <a:pt x="158" y="53"/>
                    </a:lnTo>
                    <a:lnTo>
                      <a:pt x="167" y="53"/>
                    </a:lnTo>
                    <a:lnTo>
                      <a:pt x="167" y="53"/>
                    </a:lnTo>
                    <a:lnTo>
                      <a:pt x="184" y="44"/>
                    </a:lnTo>
                    <a:lnTo>
                      <a:pt x="184" y="53"/>
                    </a:lnTo>
                    <a:lnTo>
                      <a:pt x="193" y="53"/>
                    </a:lnTo>
                    <a:lnTo>
                      <a:pt x="193" y="53"/>
                    </a:lnTo>
                    <a:lnTo>
                      <a:pt x="202" y="53"/>
                    </a:lnTo>
                    <a:lnTo>
                      <a:pt x="211" y="44"/>
                    </a:lnTo>
                    <a:lnTo>
                      <a:pt x="220" y="35"/>
                    </a:lnTo>
                    <a:lnTo>
                      <a:pt x="228" y="35"/>
                    </a:lnTo>
                    <a:lnTo>
                      <a:pt x="237" y="26"/>
                    </a:lnTo>
                    <a:lnTo>
                      <a:pt x="237" y="26"/>
                    </a:lnTo>
                    <a:lnTo>
                      <a:pt x="255" y="26"/>
                    </a:lnTo>
                    <a:lnTo>
                      <a:pt x="264" y="26"/>
                    </a:lnTo>
                    <a:lnTo>
                      <a:pt x="272" y="17"/>
                    </a:lnTo>
                    <a:lnTo>
                      <a:pt x="281" y="17"/>
                    </a:lnTo>
                    <a:lnTo>
                      <a:pt x="290" y="17"/>
                    </a:lnTo>
                    <a:lnTo>
                      <a:pt x="290" y="35"/>
                    </a:lnTo>
                    <a:lnTo>
                      <a:pt x="290" y="35"/>
                    </a:lnTo>
                    <a:lnTo>
                      <a:pt x="299" y="44"/>
                    </a:lnTo>
                    <a:lnTo>
                      <a:pt x="308" y="35"/>
                    </a:lnTo>
                    <a:lnTo>
                      <a:pt x="316" y="44"/>
                    </a:lnTo>
                    <a:lnTo>
                      <a:pt x="316" y="35"/>
                    </a:lnTo>
                    <a:lnTo>
                      <a:pt x="325" y="35"/>
                    </a:lnTo>
                    <a:lnTo>
                      <a:pt x="325" y="35"/>
                    </a:lnTo>
                    <a:lnTo>
                      <a:pt x="325" y="35"/>
                    </a:lnTo>
                    <a:lnTo>
                      <a:pt x="334" y="35"/>
                    </a:lnTo>
                    <a:lnTo>
                      <a:pt x="334" y="44"/>
                    </a:lnTo>
                    <a:lnTo>
                      <a:pt x="334" y="44"/>
                    </a:lnTo>
                    <a:lnTo>
                      <a:pt x="334" y="53"/>
                    </a:lnTo>
                    <a:lnTo>
                      <a:pt x="343" y="53"/>
                    </a:lnTo>
                    <a:lnTo>
                      <a:pt x="343" y="53"/>
                    </a:lnTo>
                    <a:lnTo>
                      <a:pt x="343" y="62"/>
                    </a:lnTo>
                    <a:lnTo>
                      <a:pt x="343" y="62"/>
                    </a:lnTo>
                    <a:lnTo>
                      <a:pt x="352" y="62"/>
                    </a:lnTo>
                    <a:lnTo>
                      <a:pt x="352" y="70"/>
                    </a:lnTo>
                    <a:lnTo>
                      <a:pt x="352" y="70"/>
                    </a:lnTo>
                    <a:lnTo>
                      <a:pt x="325" y="70"/>
                    </a:lnTo>
                    <a:lnTo>
                      <a:pt x="325" y="70"/>
                    </a:lnTo>
                    <a:lnTo>
                      <a:pt x="316" y="70"/>
                    </a:lnTo>
                    <a:lnTo>
                      <a:pt x="308" y="70"/>
                    </a:lnTo>
                    <a:lnTo>
                      <a:pt x="308" y="79"/>
                    </a:lnTo>
                    <a:lnTo>
                      <a:pt x="308" y="88"/>
                    </a:lnTo>
                    <a:lnTo>
                      <a:pt x="308" y="88"/>
                    </a:lnTo>
                    <a:lnTo>
                      <a:pt x="299" y="79"/>
                    </a:lnTo>
                    <a:lnTo>
                      <a:pt x="281" y="70"/>
                    </a:lnTo>
                    <a:lnTo>
                      <a:pt x="281" y="70"/>
                    </a:lnTo>
                    <a:lnTo>
                      <a:pt x="272" y="70"/>
                    </a:lnTo>
                    <a:lnTo>
                      <a:pt x="264" y="70"/>
                    </a:lnTo>
                    <a:lnTo>
                      <a:pt x="264" y="79"/>
                    </a:lnTo>
                    <a:lnTo>
                      <a:pt x="255" y="79"/>
                    </a:lnTo>
                    <a:lnTo>
                      <a:pt x="246" y="79"/>
                    </a:lnTo>
                    <a:lnTo>
                      <a:pt x="237" y="88"/>
                    </a:lnTo>
                    <a:lnTo>
                      <a:pt x="237" y="88"/>
                    </a:lnTo>
                    <a:lnTo>
                      <a:pt x="228" y="88"/>
                    </a:lnTo>
                    <a:lnTo>
                      <a:pt x="228" y="88"/>
                    </a:lnTo>
                    <a:lnTo>
                      <a:pt x="220" y="97"/>
                    </a:lnTo>
                    <a:lnTo>
                      <a:pt x="220" y="97"/>
                    </a:lnTo>
                    <a:lnTo>
                      <a:pt x="220" y="106"/>
                    </a:lnTo>
                    <a:lnTo>
                      <a:pt x="211" y="106"/>
                    </a:lnTo>
                    <a:lnTo>
                      <a:pt x="211" y="115"/>
                    </a:lnTo>
                    <a:lnTo>
                      <a:pt x="202" y="115"/>
                    </a:lnTo>
                    <a:lnTo>
                      <a:pt x="211" y="106"/>
                    </a:lnTo>
                    <a:lnTo>
                      <a:pt x="211" y="106"/>
                    </a:lnTo>
                    <a:lnTo>
                      <a:pt x="211" y="97"/>
                    </a:lnTo>
                    <a:lnTo>
                      <a:pt x="211" y="97"/>
                    </a:lnTo>
                    <a:lnTo>
                      <a:pt x="202" y="97"/>
                    </a:lnTo>
                    <a:lnTo>
                      <a:pt x="193" y="106"/>
                    </a:lnTo>
                    <a:lnTo>
                      <a:pt x="193" y="106"/>
                    </a:lnTo>
                    <a:lnTo>
                      <a:pt x="193" y="115"/>
                    </a:lnTo>
                    <a:lnTo>
                      <a:pt x="193" y="106"/>
                    </a:lnTo>
                    <a:lnTo>
                      <a:pt x="184" y="106"/>
                    </a:lnTo>
                    <a:lnTo>
                      <a:pt x="193" y="97"/>
                    </a:lnTo>
                    <a:lnTo>
                      <a:pt x="184" y="106"/>
                    </a:lnTo>
                    <a:lnTo>
                      <a:pt x="184" y="115"/>
                    </a:lnTo>
                    <a:lnTo>
                      <a:pt x="176" y="115"/>
                    </a:lnTo>
                    <a:lnTo>
                      <a:pt x="176" y="123"/>
                    </a:lnTo>
                    <a:lnTo>
                      <a:pt x="176" y="132"/>
                    </a:lnTo>
                    <a:lnTo>
                      <a:pt x="167" y="150"/>
                    </a:lnTo>
                    <a:lnTo>
                      <a:pt x="158" y="159"/>
                    </a:lnTo>
                    <a:lnTo>
                      <a:pt x="158" y="159"/>
                    </a:lnTo>
                    <a:lnTo>
                      <a:pt x="158" y="159"/>
                    </a:lnTo>
                    <a:lnTo>
                      <a:pt x="158" y="159"/>
                    </a:lnTo>
                    <a:lnTo>
                      <a:pt x="149" y="159"/>
                    </a:lnTo>
                    <a:lnTo>
                      <a:pt x="149" y="150"/>
                    </a:lnTo>
                    <a:lnTo>
                      <a:pt x="158" y="141"/>
                    </a:lnTo>
                    <a:lnTo>
                      <a:pt x="149" y="141"/>
                    </a:lnTo>
                    <a:lnTo>
                      <a:pt x="140" y="141"/>
                    </a:lnTo>
                    <a:lnTo>
                      <a:pt x="140" y="141"/>
                    </a:lnTo>
                    <a:lnTo>
                      <a:pt x="140" y="132"/>
                    </a:lnTo>
                    <a:lnTo>
                      <a:pt x="149" y="123"/>
                    </a:lnTo>
                    <a:lnTo>
                      <a:pt x="140" y="123"/>
                    </a:lnTo>
                    <a:lnTo>
                      <a:pt x="140" y="115"/>
                    </a:lnTo>
                    <a:lnTo>
                      <a:pt x="140" y="115"/>
                    </a:lnTo>
                    <a:lnTo>
                      <a:pt x="132" y="115"/>
                    </a:lnTo>
                    <a:lnTo>
                      <a:pt x="123" y="115"/>
                    </a:lnTo>
                    <a:lnTo>
                      <a:pt x="123" y="106"/>
                    </a:lnTo>
                    <a:lnTo>
                      <a:pt x="123" y="97"/>
                    </a:lnTo>
                    <a:lnTo>
                      <a:pt x="105" y="97"/>
                    </a:lnTo>
                    <a:lnTo>
                      <a:pt x="105" y="97"/>
                    </a:lnTo>
                    <a:lnTo>
                      <a:pt x="96" y="97"/>
                    </a:lnTo>
                    <a:lnTo>
                      <a:pt x="88" y="97"/>
                    </a:lnTo>
                    <a:lnTo>
                      <a:pt x="88" y="97"/>
                    </a:lnTo>
                    <a:lnTo>
                      <a:pt x="70" y="88"/>
                    </a:lnTo>
                    <a:lnTo>
                      <a:pt x="17" y="79"/>
                    </a:lnTo>
                    <a:lnTo>
                      <a:pt x="8" y="70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77" name="Freeform 109"/>
              <p:cNvSpPr>
                <a:spLocks/>
              </p:cNvSpPr>
              <p:nvPr/>
            </p:nvSpPr>
            <p:spPr bwMode="auto">
              <a:xfrm>
                <a:off x="3574793" y="1915051"/>
                <a:ext cx="59032" cy="59032"/>
              </a:xfrm>
              <a:custGeom>
                <a:avLst/>
                <a:gdLst/>
                <a:ahLst/>
                <a:cxnLst>
                  <a:cxn ang="0">
                    <a:pos x="35" y="18"/>
                  </a:cxn>
                  <a:cxn ang="0">
                    <a:pos x="26" y="18"/>
                  </a:cxn>
                  <a:cxn ang="0">
                    <a:pos x="17" y="36"/>
                  </a:cxn>
                  <a:cxn ang="0">
                    <a:pos x="17" y="44"/>
                  </a:cxn>
                  <a:cxn ang="0">
                    <a:pos x="8" y="44"/>
                  </a:cxn>
                  <a:cxn ang="0">
                    <a:pos x="17" y="36"/>
                  </a:cxn>
                  <a:cxn ang="0">
                    <a:pos x="17" y="27"/>
                  </a:cxn>
                  <a:cxn ang="0">
                    <a:pos x="8" y="36"/>
                  </a:cxn>
                  <a:cxn ang="0">
                    <a:pos x="0" y="36"/>
                  </a:cxn>
                  <a:cxn ang="0">
                    <a:pos x="0" y="27"/>
                  </a:cxn>
                  <a:cxn ang="0">
                    <a:pos x="8" y="27"/>
                  </a:cxn>
                  <a:cxn ang="0">
                    <a:pos x="8" y="18"/>
                  </a:cxn>
                  <a:cxn ang="0">
                    <a:pos x="17" y="9"/>
                  </a:cxn>
                  <a:cxn ang="0">
                    <a:pos x="35" y="9"/>
                  </a:cxn>
                  <a:cxn ang="0">
                    <a:pos x="44" y="0"/>
                  </a:cxn>
                  <a:cxn ang="0">
                    <a:pos x="44" y="9"/>
                  </a:cxn>
                  <a:cxn ang="0">
                    <a:pos x="44" y="9"/>
                  </a:cxn>
                  <a:cxn ang="0">
                    <a:pos x="35" y="9"/>
                  </a:cxn>
                  <a:cxn ang="0">
                    <a:pos x="35" y="18"/>
                  </a:cxn>
                </a:cxnLst>
                <a:rect l="0" t="0" r="r" b="b"/>
                <a:pathLst>
                  <a:path w="44" h="44">
                    <a:moveTo>
                      <a:pt x="35" y="18"/>
                    </a:moveTo>
                    <a:lnTo>
                      <a:pt x="26" y="18"/>
                    </a:lnTo>
                    <a:lnTo>
                      <a:pt x="17" y="36"/>
                    </a:lnTo>
                    <a:lnTo>
                      <a:pt x="17" y="44"/>
                    </a:lnTo>
                    <a:lnTo>
                      <a:pt x="8" y="44"/>
                    </a:lnTo>
                    <a:lnTo>
                      <a:pt x="17" y="36"/>
                    </a:lnTo>
                    <a:lnTo>
                      <a:pt x="17" y="27"/>
                    </a:lnTo>
                    <a:lnTo>
                      <a:pt x="8" y="36"/>
                    </a:lnTo>
                    <a:lnTo>
                      <a:pt x="0" y="36"/>
                    </a:lnTo>
                    <a:lnTo>
                      <a:pt x="0" y="27"/>
                    </a:lnTo>
                    <a:lnTo>
                      <a:pt x="8" y="27"/>
                    </a:lnTo>
                    <a:lnTo>
                      <a:pt x="8" y="18"/>
                    </a:lnTo>
                    <a:lnTo>
                      <a:pt x="17" y="9"/>
                    </a:lnTo>
                    <a:lnTo>
                      <a:pt x="35" y="9"/>
                    </a:lnTo>
                    <a:lnTo>
                      <a:pt x="44" y="0"/>
                    </a:lnTo>
                    <a:lnTo>
                      <a:pt x="44" y="9"/>
                    </a:lnTo>
                    <a:lnTo>
                      <a:pt x="44" y="9"/>
                    </a:lnTo>
                    <a:lnTo>
                      <a:pt x="35" y="9"/>
                    </a:lnTo>
                    <a:lnTo>
                      <a:pt x="35" y="18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78" name="Freeform 110"/>
              <p:cNvSpPr>
                <a:spLocks/>
              </p:cNvSpPr>
              <p:nvPr/>
            </p:nvSpPr>
            <p:spPr bwMode="auto">
              <a:xfrm>
                <a:off x="3574793" y="1915051"/>
                <a:ext cx="59032" cy="59032"/>
              </a:xfrm>
              <a:custGeom>
                <a:avLst/>
                <a:gdLst/>
                <a:ahLst/>
                <a:cxnLst>
                  <a:cxn ang="0">
                    <a:pos x="35" y="18"/>
                  </a:cxn>
                  <a:cxn ang="0">
                    <a:pos x="26" y="18"/>
                  </a:cxn>
                  <a:cxn ang="0">
                    <a:pos x="17" y="36"/>
                  </a:cxn>
                  <a:cxn ang="0">
                    <a:pos x="17" y="44"/>
                  </a:cxn>
                  <a:cxn ang="0">
                    <a:pos x="8" y="44"/>
                  </a:cxn>
                  <a:cxn ang="0">
                    <a:pos x="17" y="36"/>
                  </a:cxn>
                  <a:cxn ang="0">
                    <a:pos x="17" y="27"/>
                  </a:cxn>
                  <a:cxn ang="0">
                    <a:pos x="8" y="36"/>
                  </a:cxn>
                  <a:cxn ang="0">
                    <a:pos x="0" y="36"/>
                  </a:cxn>
                  <a:cxn ang="0">
                    <a:pos x="0" y="27"/>
                  </a:cxn>
                  <a:cxn ang="0">
                    <a:pos x="8" y="27"/>
                  </a:cxn>
                  <a:cxn ang="0">
                    <a:pos x="8" y="18"/>
                  </a:cxn>
                  <a:cxn ang="0">
                    <a:pos x="17" y="9"/>
                  </a:cxn>
                  <a:cxn ang="0">
                    <a:pos x="35" y="9"/>
                  </a:cxn>
                  <a:cxn ang="0">
                    <a:pos x="44" y="0"/>
                  </a:cxn>
                  <a:cxn ang="0">
                    <a:pos x="44" y="9"/>
                  </a:cxn>
                  <a:cxn ang="0">
                    <a:pos x="44" y="9"/>
                  </a:cxn>
                  <a:cxn ang="0">
                    <a:pos x="35" y="9"/>
                  </a:cxn>
                  <a:cxn ang="0">
                    <a:pos x="35" y="18"/>
                  </a:cxn>
                </a:cxnLst>
                <a:rect l="0" t="0" r="r" b="b"/>
                <a:pathLst>
                  <a:path w="44" h="44">
                    <a:moveTo>
                      <a:pt x="35" y="18"/>
                    </a:moveTo>
                    <a:lnTo>
                      <a:pt x="26" y="18"/>
                    </a:lnTo>
                    <a:lnTo>
                      <a:pt x="17" y="36"/>
                    </a:lnTo>
                    <a:lnTo>
                      <a:pt x="17" y="44"/>
                    </a:lnTo>
                    <a:lnTo>
                      <a:pt x="8" y="44"/>
                    </a:lnTo>
                    <a:lnTo>
                      <a:pt x="17" y="36"/>
                    </a:lnTo>
                    <a:lnTo>
                      <a:pt x="17" y="27"/>
                    </a:lnTo>
                    <a:lnTo>
                      <a:pt x="8" y="36"/>
                    </a:lnTo>
                    <a:lnTo>
                      <a:pt x="0" y="36"/>
                    </a:lnTo>
                    <a:lnTo>
                      <a:pt x="0" y="27"/>
                    </a:lnTo>
                    <a:lnTo>
                      <a:pt x="8" y="27"/>
                    </a:lnTo>
                    <a:lnTo>
                      <a:pt x="8" y="18"/>
                    </a:lnTo>
                    <a:lnTo>
                      <a:pt x="17" y="9"/>
                    </a:lnTo>
                    <a:lnTo>
                      <a:pt x="35" y="9"/>
                    </a:lnTo>
                    <a:lnTo>
                      <a:pt x="44" y="0"/>
                    </a:lnTo>
                    <a:lnTo>
                      <a:pt x="44" y="9"/>
                    </a:lnTo>
                    <a:lnTo>
                      <a:pt x="44" y="9"/>
                    </a:lnTo>
                    <a:lnTo>
                      <a:pt x="35" y="9"/>
                    </a:lnTo>
                    <a:lnTo>
                      <a:pt x="35" y="18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79" name="Freeform 111"/>
              <p:cNvSpPr>
                <a:spLocks/>
              </p:cNvSpPr>
              <p:nvPr/>
            </p:nvSpPr>
            <p:spPr bwMode="auto">
              <a:xfrm>
                <a:off x="3928984" y="2034457"/>
                <a:ext cx="34882" cy="10733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26" y="0"/>
                  </a:cxn>
                  <a:cxn ang="0">
                    <a:pos x="26" y="8"/>
                  </a:cxn>
                  <a:cxn ang="0">
                    <a:pos x="17" y="8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0" y="8"/>
                  </a:cxn>
                  <a:cxn ang="0">
                    <a:pos x="8" y="8"/>
                  </a:cxn>
                  <a:cxn ang="0">
                    <a:pos x="17" y="0"/>
                  </a:cxn>
                  <a:cxn ang="0">
                    <a:pos x="8" y="0"/>
                  </a:cxn>
                  <a:cxn ang="0">
                    <a:pos x="17" y="0"/>
                  </a:cxn>
                </a:cxnLst>
                <a:rect l="0" t="0" r="r" b="b"/>
                <a:pathLst>
                  <a:path w="26" h="8">
                    <a:moveTo>
                      <a:pt x="17" y="0"/>
                    </a:moveTo>
                    <a:lnTo>
                      <a:pt x="26" y="0"/>
                    </a:lnTo>
                    <a:lnTo>
                      <a:pt x="26" y="8"/>
                    </a:lnTo>
                    <a:lnTo>
                      <a:pt x="17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0" y="8"/>
                    </a:lnTo>
                    <a:lnTo>
                      <a:pt x="8" y="8"/>
                    </a:lnTo>
                    <a:lnTo>
                      <a:pt x="17" y="0"/>
                    </a:lnTo>
                    <a:lnTo>
                      <a:pt x="8" y="0"/>
                    </a:lnTo>
                    <a:lnTo>
                      <a:pt x="17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80" name="Freeform 112"/>
              <p:cNvSpPr>
                <a:spLocks/>
              </p:cNvSpPr>
              <p:nvPr/>
            </p:nvSpPr>
            <p:spPr bwMode="auto">
              <a:xfrm>
                <a:off x="3928984" y="2034457"/>
                <a:ext cx="34882" cy="10733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26" y="0"/>
                  </a:cxn>
                  <a:cxn ang="0">
                    <a:pos x="26" y="8"/>
                  </a:cxn>
                  <a:cxn ang="0">
                    <a:pos x="17" y="8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0" y="8"/>
                  </a:cxn>
                  <a:cxn ang="0">
                    <a:pos x="8" y="8"/>
                  </a:cxn>
                  <a:cxn ang="0">
                    <a:pos x="17" y="0"/>
                  </a:cxn>
                  <a:cxn ang="0">
                    <a:pos x="8" y="0"/>
                  </a:cxn>
                  <a:cxn ang="0">
                    <a:pos x="17" y="0"/>
                  </a:cxn>
                </a:cxnLst>
                <a:rect l="0" t="0" r="r" b="b"/>
                <a:pathLst>
                  <a:path w="26" h="8">
                    <a:moveTo>
                      <a:pt x="17" y="0"/>
                    </a:moveTo>
                    <a:lnTo>
                      <a:pt x="26" y="0"/>
                    </a:lnTo>
                    <a:lnTo>
                      <a:pt x="26" y="8"/>
                    </a:lnTo>
                    <a:lnTo>
                      <a:pt x="17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0" y="8"/>
                    </a:lnTo>
                    <a:lnTo>
                      <a:pt x="8" y="8"/>
                    </a:lnTo>
                    <a:lnTo>
                      <a:pt x="17" y="0"/>
                    </a:lnTo>
                    <a:lnTo>
                      <a:pt x="8" y="0"/>
                    </a:lnTo>
                    <a:lnTo>
                      <a:pt x="17" y="0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81" name="Freeform 113"/>
              <p:cNvSpPr>
                <a:spLocks/>
              </p:cNvSpPr>
              <p:nvPr/>
            </p:nvSpPr>
            <p:spPr bwMode="auto">
              <a:xfrm>
                <a:off x="4792995" y="2163924"/>
                <a:ext cx="271010" cy="154288"/>
              </a:xfrm>
              <a:custGeom>
                <a:avLst/>
                <a:gdLst/>
                <a:ahLst/>
                <a:cxnLst>
                  <a:cxn ang="0">
                    <a:pos x="44" y="35"/>
                  </a:cxn>
                  <a:cxn ang="0">
                    <a:pos x="114" y="18"/>
                  </a:cxn>
                  <a:cxn ang="0">
                    <a:pos x="114" y="9"/>
                  </a:cxn>
                  <a:cxn ang="0">
                    <a:pos x="123" y="0"/>
                  </a:cxn>
                  <a:cxn ang="0">
                    <a:pos x="132" y="0"/>
                  </a:cxn>
                  <a:cxn ang="0">
                    <a:pos x="132" y="9"/>
                  </a:cxn>
                  <a:cxn ang="0">
                    <a:pos x="141" y="18"/>
                  </a:cxn>
                  <a:cxn ang="0">
                    <a:pos x="141" y="18"/>
                  </a:cxn>
                  <a:cxn ang="0">
                    <a:pos x="149" y="18"/>
                  </a:cxn>
                  <a:cxn ang="0">
                    <a:pos x="132" y="35"/>
                  </a:cxn>
                  <a:cxn ang="0">
                    <a:pos x="132" y="35"/>
                  </a:cxn>
                  <a:cxn ang="0">
                    <a:pos x="132" y="44"/>
                  </a:cxn>
                  <a:cxn ang="0">
                    <a:pos x="141" y="53"/>
                  </a:cxn>
                  <a:cxn ang="0">
                    <a:pos x="149" y="53"/>
                  </a:cxn>
                  <a:cxn ang="0">
                    <a:pos x="158" y="62"/>
                  </a:cxn>
                  <a:cxn ang="0">
                    <a:pos x="158" y="71"/>
                  </a:cxn>
                  <a:cxn ang="0">
                    <a:pos x="167" y="71"/>
                  </a:cxn>
                  <a:cxn ang="0">
                    <a:pos x="176" y="79"/>
                  </a:cxn>
                  <a:cxn ang="0">
                    <a:pos x="185" y="79"/>
                  </a:cxn>
                  <a:cxn ang="0">
                    <a:pos x="202" y="71"/>
                  </a:cxn>
                  <a:cxn ang="0">
                    <a:pos x="193" y="62"/>
                  </a:cxn>
                  <a:cxn ang="0">
                    <a:pos x="185" y="53"/>
                  </a:cxn>
                  <a:cxn ang="0">
                    <a:pos x="185" y="53"/>
                  </a:cxn>
                  <a:cxn ang="0">
                    <a:pos x="193" y="53"/>
                  </a:cxn>
                  <a:cxn ang="0">
                    <a:pos x="202" y="79"/>
                  </a:cxn>
                  <a:cxn ang="0">
                    <a:pos x="193" y="79"/>
                  </a:cxn>
                  <a:cxn ang="0">
                    <a:pos x="176" y="88"/>
                  </a:cxn>
                  <a:cxn ang="0">
                    <a:pos x="176" y="97"/>
                  </a:cxn>
                  <a:cxn ang="0">
                    <a:pos x="167" y="88"/>
                  </a:cxn>
                  <a:cxn ang="0">
                    <a:pos x="158" y="88"/>
                  </a:cxn>
                  <a:cxn ang="0">
                    <a:pos x="149" y="97"/>
                  </a:cxn>
                  <a:cxn ang="0">
                    <a:pos x="141" y="106"/>
                  </a:cxn>
                  <a:cxn ang="0">
                    <a:pos x="141" y="106"/>
                  </a:cxn>
                  <a:cxn ang="0">
                    <a:pos x="132" y="97"/>
                  </a:cxn>
                  <a:cxn ang="0">
                    <a:pos x="132" y="88"/>
                  </a:cxn>
                  <a:cxn ang="0">
                    <a:pos x="132" y="97"/>
                  </a:cxn>
                  <a:cxn ang="0">
                    <a:pos x="123" y="97"/>
                  </a:cxn>
                  <a:cxn ang="0">
                    <a:pos x="123" y="88"/>
                  </a:cxn>
                  <a:cxn ang="0">
                    <a:pos x="114" y="79"/>
                  </a:cxn>
                  <a:cxn ang="0">
                    <a:pos x="97" y="79"/>
                  </a:cxn>
                  <a:cxn ang="0">
                    <a:pos x="79" y="88"/>
                  </a:cxn>
                  <a:cxn ang="0">
                    <a:pos x="53" y="97"/>
                  </a:cxn>
                  <a:cxn ang="0">
                    <a:pos x="35" y="97"/>
                  </a:cxn>
                  <a:cxn ang="0">
                    <a:pos x="0" y="106"/>
                  </a:cxn>
                  <a:cxn ang="0">
                    <a:pos x="0" y="53"/>
                  </a:cxn>
                </a:cxnLst>
                <a:rect l="0" t="0" r="r" b="b"/>
                <a:pathLst>
                  <a:path w="202" h="115">
                    <a:moveTo>
                      <a:pt x="0" y="44"/>
                    </a:moveTo>
                    <a:lnTo>
                      <a:pt x="44" y="35"/>
                    </a:lnTo>
                    <a:lnTo>
                      <a:pt x="105" y="26"/>
                    </a:lnTo>
                    <a:lnTo>
                      <a:pt x="114" y="18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23" y="9"/>
                    </a:lnTo>
                    <a:lnTo>
                      <a:pt x="123" y="0"/>
                    </a:lnTo>
                    <a:lnTo>
                      <a:pt x="132" y="0"/>
                    </a:lnTo>
                    <a:lnTo>
                      <a:pt x="132" y="0"/>
                    </a:lnTo>
                    <a:lnTo>
                      <a:pt x="132" y="9"/>
                    </a:lnTo>
                    <a:lnTo>
                      <a:pt x="132" y="9"/>
                    </a:lnTo>
                    <a:lnTo>
                      <a:pt x="132" y="18"/>
                    </a:lnTo>
                    <a:lnTo>
                      <a:pt x="141" y="18"/>
                    </a:lnTo>
                    <a:lnTo>
                      <a:pt x="141" y="18"/>
                    </a:lnTo>
                    <a:lnTo>
                      <a:pt x="141" y="18"/>
                    </a:lnTo>
                    <a:lnTo>
                      <a:pt x="149" y="18"/>
                    </a:lnTo>
                    <a:lnTo>
                      <a:pt x="149" y="18"/>
                    </a:lnTo>
                    <a:lnTo>
                      <a:pt x="141" y="26"/>
                    </a:lnTo>
                    <a:lnTo>
                      <a:pt x="132" y="35"/>
                    </a:lnTo>
                    <a:lnTo>
                      <a:pt x="132" y="35"/>
                    </a:lnTo>
                    <a:lnTo>
                      <a:pt x="132" y="35"/>
                    </a:lnTo>
                    <a:lnTo>
                      <a:pt x="132" y="44"/>
                    </a:lnTo>
                    <a:lnTo>
                      <a:pt x="132" y="44"/>
                    </a:lnTo>
                    <a:lnTo>
                      <a:pt x="132" y="53"/>
                    </a:lnTo>
                    <a:lnTo>
                      <a:pt x="141" y="53"/>
                    </a:lnTo>
                    <a:lnTo>
                      <a:pt x="141" y="53"/>
                    </a:lnTo>
                    <a:lnTo>
                      <a:pt x="149" y="53"/>
                    </a:lnTo>
                    <a:lnTo>
                      <a:pt x="158" y="62"/>
                    </a:lnTo>
                    <a:lnTo>
                      <a:pt x="158" y="62"/>
                    </a:lnTo>
                    <a:lnTo>
                      <a:pt x="158" y="62"/>
                    </a:lnTo>
                    <a:lnTo>
                      <a:pt x="158" y="71"/>
                    </a:lnTo>
                    <a:lnTo>
                      <a:pt x="158" y="71"/>
                    </a:lnTo>
                    <a:lnTo>
                      <a:pt x="167" y="71"/>
                    </a:lnTo>
                    <a:lnTo>
                      <a:pt x="167" y="79"/>
                    </a:lnTo>
                    <a:lnTo>
                      <a:pt x="176" y="79"/>
                    </a:lnTo>
                    <a:lnTo>
                      <a:pt x="176" y="79"/>
                    </a:lnTo>
                    <a:lnTo>
                      <a:pt x="185" y="79"/>
                    </a:lnTo>
                    <a:lnTo>
                      <a:pt x="193" y="79"/>
                    </a:lnTo>
                    <a:lnTo>
                      <a:pt x="202" y="71"/>
                    </a:lnTo>
                    <a:lnTo>
                      <a:pt x="193" y="62"/>
                    </a:lnTo>
                    <a:lnTo>
                      <a:pt x="193" y="62"/>
                    </a:lnTo>
                    <a:lnTo>
                      <a:pt x="193" y="53"/>
                    </a:lnTo>
                    <a:lnTo>
                      <a:pt x="185" y="53"/>
                    </a:lnTo>
                    <a:lnTo>
                      <a:pt x="176" y="53"/>
                    </a:lnTo>
                    <a:lnTo>
                      <a:pt x="185" y="53"/>
                    </a:lnTo>
                    <a:lnTo>
                      <a:pt x="193" y="53"/>
                    </a:lnTo>
                    <a:lnTo>
                      <a:pt x="193" y="53"/>
                    </a:lnTo>
                    <a:lnTo>
                      <a:pt x="202" y="71"/>
                    </a:lnTo>
                    <a:lnTo>
                      <a:pt x="202" y="79"/>
                    </a:lnTo>
                    <a:lnTo>
                      <a:pt x="202" y="79"/>
                    </a:lnTo>
                    <a:lnTo>
                      <a:pt x="193" y="79"/>
                    </a:lnTo>
                    <a:lnTo>
                      <a:pt x="185" y="88"/>
                    </a:lnTo>
                    <a:lnTo>
                      <a:pt x="176" y="88"/>
                    </a:lnTo>
                    <a:lnTo>
                      <a:pt x="176" y="97"/>
                    </a:lnTo>
                    <a:lnTo>
                      <a:pt x="176" y="97"/>
                    </a:lnTo>
                    <a:lnTo>
                      <a:pt x="167" y="97"/>
                    </a:lnTo>
                    <a:lnTo>
                      <a:pt x="167" y="88"/>
                    </a:lnTo>
                    <a:lnTo>
                      <a:pt x="167" y="88"/>
                    </a:lnTo>
                    <a:lnTo>
                      <a:pt x="158" y="88"/>
                    </a:lnTo>
                    <a:lnTo>
                      <a:pt x="158" y="97"/>
                    </a:lnTo>
                    <a:lnTo>
                      <a:pt x="149" y="97"/>
                    </a:lnTo>
                    <a:lnTo>
                      <a:pt x="149" y="106"/>
                    </a:lnTo>
                    <a:lnTo>
                      <a:pt x="141" y="106"/>
                    </a:lnTo>
                    <a:lnTo>
                      <a:pt x="141" y="115"/>
                    </a:lnTo>
                    <a:lnTo>
                      <a:pt x="141" y="106"/>
                    </a:lnTo>
                    <a:lnTo>
                      <a:pt x="141" y="97"/>
                    </a:lnTo>
                    <a:lnTo>
                      <a:pt x="132" y="97"/>
                    </a:lnTo>
                    <a:lnTo>
                      <a:pt x="132" y="97"/>
                    </a:lnTo>
                    <a:lnTo>
                      <a:pt x="132" y="88"/>
                    </a:lnTo>
                    <a:lnTo>
                      <a:pt x="132" y="97"/>
                    </a:lnTo>
                    <a:lnTo>
                      <a:pt x="132" y="97"/>
                    </a:lnTo>
                    <a:lnTo>
                      <a:pt x="123" y="97"/>
                    </a:lnTo>
                    <a:lnTo>
                      <a:pt x="123" y="97"/>
                    </a:lnTo>
                    <a:lnTo>
                      <a:pt x="123" y="88"/>
                    </a:lnTo>
                    <a:lnTo>
                      <a:pt x="123" y="88"/>
                    </a:lnTo>
                    <a:lnTo>
                      <a:pt x="123" y="88"/>
                    </a:lnTo>
                    <a:lnTo>
                      <a:pt x="114" y="79"/>
                    </a:lnTo>
                    <a:lnTo>
                      <a:pt x="114" y="79"/>
                    </a:lnTo>
                    <a:lnTo>
                      <a:pt x="97" y="79"/>
                    </a:lnTo>
                    <a:lnTo>
                      <a:pt x="88" y="79"/>
                    </a:lnTo>
                    <a:lnTo>
                      <a:pt x="79" y="88"/>
                    </a:lnTo>
                    <a:lnTo>
                      <a:pt x="53" y="88"/>
                    </a:lnTo>
                    <a:lnTo>
                      <a:pt x="53" y="97"/>
                    </a:lnTo>
                    <a:lnTo>
                      <a:pt x="44" y="97"/>
                    </a:lnTo>
                    <a:lnTo>
                      <a:pt x="35" y="97"/>
                    </a:lnTo>
                    <a:lnTo>
                      <a:pt x="35" y="97"/>
                    </a:lnTo>
                    <a:lnTo>
                      <a:pt x="0" y="106"/>
                    </a:lnTo>
                    <a:lnTo>
                      <a:pt x="0" y="97"/>
                    </a:lnTo>
                    <a:lnTo>
                      <a:pt x="0" y="53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82" name="Freeform 119"/>
              <p:cNvSpPr>
                <a:spLocks/>
              </p:cNvSpPr>
              <p:nvPr/>
            </p:nvSpPr>
            <p:spPr bwMode="auto">
              <a:xfrm>
                <a:off x="4743355" y="2757596"/>
                <a:ext cx="10733" cy="24149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0" y="9"/>
                  </a:cxn>
                  <a:cxn ang="0">
                    <a:pos x="0" y="18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8" y="0"/>
                  </a:cxn>
                </a:cxnLst>
                <a:rect l="0" t="0" r="r" b="b"/>
                <a:pathLst>
                  <a:path w="8" h="18">
                    <a:moveTo>
                      <a:pt x="8" y="0"/>
                    </a:moveTo>
                    <a:lnTo>
                      <a:pt x="8" y="0"/>
                    </a:lnTo>
                    <a:lnTo>
                      <a:pt x="0" y="9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0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83" name="Freeform 120"/>
              <p:cNvSpPr>
                <a:spLocks/>
              </p:cNvSpPr>
              <p:nvPr/>
            </p:nvSpPr>
            <p:spPr bwMode="auto">
              <a:xfrm>
                <a:off x="4743355" y="2757596"/>
                <a:ext cx="10733" cy="24149"/>
              </a:xfrm>
              <a:custGeom>
                <a:avLst/>
                <a:gdLst/>
                <a:ahLst/>
                <a:cxnLst>
                  <a:cxn ang="0">
                    <a:pos x="8" y="0"/>
                  </a:cxn>
                  <a:cxn ang="0">
                    <a:pos x="8" y="0"/>
                  </a:cxn>
                  <a:cxn ang="0">
                    <a:pos x="0" y="9"/>
                  </a:cxn>
                  <a:cxn ang="0">
                    <a:pos x="0" y="18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8" y="0"/>
                  </a:cxn>
                </a:cxnLst>
                <a:rect l="0" t="0" r="r" b="b"/>
                <a:pathLst>
                  <a:path w="8" h="18">
                    <a:moveTo>
                      <a:pt x="8" y="0"/>
                    </a:moveTo>
                    <a:lnTo>
                      <a:pt x="8" y="0"/>
                    </a:lnTo>
                    <a:lnTo>
                      <a:pt x="0" y="9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0" y="0"/>
                    </a:lnTo>
                    <a:lnTo>
                      <a:pt x="8" y="0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84" name="Freeform 121"/>
              <p:cNvSpPr>
                <a:spLocks/>
              </p:cNvSpPr>
              <p:nvPr/>
            </p:nvSpPr>
            <p:spPr bwMode="auto">
              <a:xfrm>
                <a:off x="4754088" y="2721372"/>
                <a:ext cx="1342" cy="36224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</a:cxnLst>
                <a:rect l="0" t="0" r="r" b="b"/>
                <a:pathLst>
                  <a:path h="27">
                    <a:moveTo>
                      <a:pt x="0" y="27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85" name="Freeform 122"/>
              <p:cNvSpPr>
                <a:spLocks/>
              </p:cNvSpPr>
              <p:nvPr/>
            </p:nvSpPr>
            <p:spPr bwMode="auto">
              <a:xfrm>
                <a:off x="4754088" y="2721372"/>
                <a:ext cx="1342" cy="36224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0" y="18"/>
                  </a:cxn>
                  <a:cxn ang="0">
                    <a:pos x="0" y="27"/>
                  </a:cxn>
                  <a:cxn ang="0">
                    <a:pos x="0" y="27"/>
                  </a:cxn>
                </a:cxnLst>
                <a:rect l="0" t="0" r="r" b="b"/>
                <a:pathLst>
                  <a:path h="27">
                    <a:moveTo>
                      <a:pt x="0" y="27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0" y="18"/>
                    </a:lnTo>
                    <a:lnTo>
                      <a:pt x="0" y="27"/>
                    </a:lnTo>
                    <a:lnTo>
                      <a:pt x="0" y="27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86" name="Freeform 127"/>
              <p:cNvSpPr>
                <a:spLocks/>
              </p:cNvSpPr>
              <p:nvPr/>
            </p:nvSpPr>
            <p:spPr bwMode="auto">
              <a:xfrm>
                <a:off x="3231336" y="3480736"/>
                <a:ext cx="472254" cy="427981"/>
              </a:xfrm>
              <a:custGeom>
                <a:avLst/>
                <a:gdLst/>
                <a:ahLst/>
                <a:cxnLst>
                  <a:cxn ang="0">
                    <a:pos x="185" y="9"/>
                  </a:cxn>
                  <a:cxn ang="0">
                    <a:pos x="194" y="18"/>
                  </a:cxn>
                  <a:cxn ang="0">
                    <a:pos x="194" y="36"/>
                  </a:cxn>
                  <a:cxn ang="0">
                    <a:pos x="203" y="45"/>
                  </a:cxn>
                  <a:cxn ang="0">
                    <a:pos x="203" y="53"/>
                  </a:cxn>
                  <a:cxn ang="0">
                    <a:pos x="203" y="62"/>
                  </a:cxn>
                  <a:cxn ang="0">
                    <a:pos x="203" y="80"/>
                  </a:cxn>
                  <a:cxn ang="0">
                    <a:pos x="176" y="106"/>
                  </a:cxn>
                  <a:cxn ang="0">
                    <a:pos x="168" y="115"/>
                  </a:cxn>
                  <a:cxn ang="0">
                    <a:pos x="168" y="142"/>
                  </a:cxn>
                  <a:cxn ang="0">
                    <a:pos x="229" y="159"/>
                  </a:cxn>
                  <a:cxn ang="0">
                    <a:pos x="291" y="177"/>
                  </a:cxn>
                  <a:cxn ang="0">
                    <a:pos x="308" y="204"/>
                  </a:cxn>
                  <a:cxn ang="0">
                    <a:pos x="308" y="221"/>
                  </a:cxn>
                  <a:cxn ang="0">
                    <a:pos x="291" y="213"/>
                  </a:cxn>
                  <a:cxn ang="0">
                    <a:pos x="264" y="204"/>
                  </a:cxn>
                  <a:cxn ang="0">
                    <a:pos x="256" y="230"/>
                  </a:cxn>
                  <a:cxn ang="0">
                    <a:pos x="291" y="221"/>
                  </a:cxn>
                  <a:cxn ang="0">
                    <a:pos x="300" y="221"/>
                  </a:cxn>
                  <a:cxn ang="0">
                    <a:pos x="300" y="239"/>
                  </a:cxn>
                  <a:cxn ang="0">
                    <a:pos x="317" y="230"/>
                  </a:cxn>
                  <a:cxn ang="0">
                    <a:pos x="326" y="248"/>
                  </a:cxn>
                  <a:cxn ang="0">
                    <a:pos x="317" y="257"/>
                  </a:cxn>
                  <a:cxn ang="0">
                    <a:pos x="308" y="274"/>
                  </a:cxn>
                  <a:cxn ang="0">
                    <a:pos x="344" y="283"/>
                  </a:cxn>
                  <a:cxn ang="0">
                    <a:pos x="352" y="292"/>
                  </a:cxn>
                  <a:cxn ang="0">
                    <a:pos x="335" y="301"/>
                  </a:cxn>
                  <a:cxn ang="0">
                    <a:pos x="335" y="292"/>
                  </a:cxn>
                  <a:cxn ang="0">
                    <a:pos x="317" y="292"/>
                  </a:cxn>
                  <a:cxn ang="0">
                    <a:pos x="300" y="283"/>
                  </a:cxn>
                  <a:cxn ang="0">
                    <a:pos x="273" y="266"/>
                  </a:cxn>
                  <a:cxn ang="0">
                    <a:pos x="282" y="292"/>
                  </a:cxn>
                  <a:cxn ang="0">
                    <a:pos x="273" y="292"/>
                  </a:cxn>
                  <a:cxn ang="0">
                    <a:pos x="247" y="292"/>
                  </a:cxn>
                  <a:cxn ang="0">
                    <a:pos x="229" y="301"/>
                  </a:cxn>
                  <a:cxn ang="0">
                    <a:pos x="212" y="301"/>
                  </a:cxn>
                  <a:cxn ang="0">
                    <a:pos x="203" y="274"/>
                  </a:cxn>
                  <a:cxn ang="0">
                    <a:pos x="194" y="274"/>
                  </a:cxn>
                  <a:cxn ang="0">
                    <a:pos x="168" y="257"/>
                  </a:cxn>
                  <a:cxn ang="0">
                    <a:pos x="150" y="257"/>
                  </a:cxn>
                  <a:cxn ang="0">
                    <a:pos x="141" y="274"/>
                  </a:cxn>
                  <a:cxn ang="0">
                    <a:pos x="88" y="274"/>
                  </a:cxn>
                  <a:cxn ang="0">
                    <a:pos x="53" y="257"/>
                  </a:cxn>
                  <a:cxn ang="0">
                    <a:pos x="53" y="239"/>
                  </a:cxn>
                  <a:cxn ang="0">
                    <a:pos x="27" y="266"/>
                  </a:cxn>
                  <a:cxn ang="0">
                    <a:pos x="27" y="257"/>
                  </a:cxn>
                  <a:cxn ang="0">
                    <a:pos x="27" y="239"/>
                  </a:cxn>
                  <a:cxn ang="0">
                    <a:pos x="27" y="195"/>
                  </a:cxn>
                  <a:cxn ang="0">
                    <a:pos x="36" y="168"/>
                  </a:cxn>
                  <a:cxn ang="0">
                    <a:pos x="36" y="151"/>
                  </a:cxn>
                  <a:cxn ang="0">
                    <a:pos x="18" y="124"/>
                  </a:cxn>
                  <a:cxn ang="0">
                    <a:pos x="0" y="89"/>
                  </a:cxn>
                </a:cxnLst>
                <a:rect l="0" t="0" r="r" b="b"/>
                <a:pathLst>
                  <a:path w="352" h="319">
                    <a:moveTo>
                      <a:pt x="0" y="9"/>
                    </a:moveTo>
                    <a:lnTo>
                      <a:pt x="80" y="9"/>
                    </a:lnTo>
                    <a:lnTo>
                      <a:pt x="185" y="0"/>
                    </a:lnTo>
                    <a:lnTo>
                      <a:pt x="185" y="0"/>
                    </a:lnTo>
                    <a:lnTo>
                      <a:pt x="185" y="9"/>
                    </a:lnTo>
                    <a:lnTo>
                      <a:pt x="185" y="0"/>
                    </a:lnTo>
                    <a:lnTo>
                      <a:pt x="194" y="0"/>
                    </a:lnTo>
                    <a:lnTo>
                      <a:pt x="194" y="9"/>
                    </a:lnTo>
                    <a:lnTo>
                      <a:pt x="185" y="18"/>
                    </a:lnTo>
                    <a:lnTo>
                      <a:pt x="194" y="18"/>
                    </a:lnTo>
                    <a:lnTo>
                      <a:pt x="194" y="18"/>
                    </a:lnTo>
                    <a:lnTo>
                      <a:pt x="194" y="27"/>
                    </a:lnTo>
                    <a:lnTo>
                      <a:pt x="194" y="36"/>
                    </a:lnTo>
                    <a:lnTo>
                      <a:pt x="203" y="27"/>
                    </a:lnTo>
                    <a:lnTo>
                      <a:pt x="194" y="36"/>
                    </a:lnTo>
                    <a:lnTo>
                      <a:pt x="203" y="45"/>
                    </a:lnTo>
                    <a:lnTo>
                      <a:pt x="194" y="36"/>
                    </a:lnTo>
                    <a:lnTo>
                      <a:pt x="194" y="36"/>
                    </a:lnTo>
                    <a:lnTo>
                      <a:pt x="194" y="45"/>
                    </a:lnTo>
                    <a:lnTo>
                      <a:pt x="203" y="45"/>
                    </a:lnTo>
                    <a:lnTo>
                      <a:pt x="203" y="53"/>
                    </a:lnTo>
                    <a:lnTo>
                      <a:pt x="212" y="53"/>
                    </a:lnTo>
                    <a:lnTo>
                      <a:pt x="212" y="53"/>
                    </a:lnTo>
                    <a:lnTo>
                      <a:pt x="212" y="53"/>
                    </a:lnTo>
                    <a:lnTo>
                      <a:pt x="203" y="53"/>
                    </a:lnTo>
                    <a:lnTo>
                      <a:pt x="203" y="62"/>
                    </a:lnTo>
                    <a:lnTo>
                      <a:pt x="194" y="62"/>
                    </a:lnTo>
                    <a:lnTo>
                      <a:pt x="194" y="62"/>
                    </a:lnTo>
                    <a:lnTo>
                      <a:pt x="194" y="71"/>
                    </a:lnTo>
                    <a:lnTo>
                      <a:pt x="203" y="62"/>
                    </a:lnTo>
                    <a:lnTo>
                      <a:pt x="203" y="71"/>
                    </a:lnTo>
                    <a:lnTo>
                      <a:pt x="194" y="71"/>
                    </a:lnTo>
                    <a:lnTo>
                      <a:pt x="194" y="71"/>
                    </a:lnTo>
                    <a:lnTo>
                      <a:pt x="194" y="80"/>
                    </a:lnTo>
                    <a:lnTo>
                      <a:pt x="203" y="80"/>
                    </a:lnTo>
                    <a:lnTo>
                      <a:pt x="185" y="89"/>
                    </a:lnTo>
                    <a:lnTo>
                      <a:pt x="185" y="89"/>
                    </a:lnTo>
                    <a:lnTo>
                      <a:pt x="176" y="98"/>
                    </a:lnTo>
                    <a:lnTo>
                      <a:pt x="185" y="98"/>
                    </a:lnTo>
                    <a:lnTo>
                      <a:pt x="176" y="106"/>
                    </a:lnTo>
                    <a:lnTo>
                      <a:pt x="176" y="106"/>
                    </a:lnTo>
                    <a:lnTo>
                      <a:pt x="176" y="115"/>
                    </a:lnTo>
                    <a:lnTo>
                      <a:pt x="176" y="115"/>
                    </a:lnTo>
                    <a:lnTo>
                      <a:pt x="176" y="115"/>
                    </a:lnTo>
                    <a:lnTo>
                      <a:pt x="168" y="115"/>
                    </a:lnTo>
                    <a:lnTo>
                      <a:pt x="176" y="133"/>
                    </a:lnTo>
                    <a:lnTo>
                      <a:pt x="168" y="133"/>
                    </a:lnTo>
                    <a:lnTo>
                      <a:pt x="176" y="133"/>
                    </a:lnTo>
                    <a:lnTo>
                      <a:pt x="168" y="142"/>
                    </a:lnTo>
                    <a:lnTo>
                      <a:pt x="168" y="142"/>
                    </a:lnTo>
                    <a:lnTo>
                      <a:pt x="168" y="142"/>
                    </a:lnTo>
                    <a:lnTo>
                      <a:pt x="168" y="151"/>
                    </a:lnTo>
                    <a:lnTo>
                      <a:pt x="168" y="159"/>
                    </a:lnTo>
                    <a:lnTo>
                      <a:pt x="168" y="159"/>
                    </a:lnTo>
                    <a:lnTo>
                      <a:pt x="229" y="159"/>
                    </a:lnTo>
                    <a:lnTo>
                      <a:pt x="291" y="151"/>
                    </a:lnTo>
                    <a:lnTo>
                      <a:pt x="291" y="151"/>
                    </a:lnTo>
                    <a:lnTo>
                      <a:pt x="291" y="159"/>
                    </a:lnTo>
                    <a:lnTo>
                      <a:pt x="291" y="168"/>
                    </a:lnTo>
                    <a:lnTo>
                      <a:pt x="291" y="177"/>
                    </a:lnTo>
                    <a:lnTo>
                      <a:pt x="291" y="186"/>
                    </a:lnTo>
                    <a:lnTo>
                      <a:pt x="291" y="186"/>
                    </a:lnTo>
                    <a:lnTo>
                      <a:pt x="300" y="195"/>
                    </a:lnTo>
                    <a:lnTo>
                      <a:pt x="300" y="204"/>
                    </a:lnTo>
                    <a:lnTo>
                      <a:pt x="308" y="204"/>
                    </a:lnTo>
                    <a:lnTo>
                      <a:pt x="308" y="204"/>
                    </a:lnTo>
                    <a:lnTo>
                      <a:pt x="308" y="213"/>
                    </a:lnTo>
                    <a:lnTo>
                      <a:pt x="308" y="213"/>
                    </a:lnTo>
                    <a:lnTo>
                      <a:pt x="317" y="213"/>
                    </a:lnTo>
                    <a:lnTo>
                      <a:pt x="308" y="221"/>
                    </a:lnTo>
                    <a:lnTo>
                      <a:pt x="308" y="213"/>
                    </a:lnTo>
                    <a:lnTo>
                      <a:pt x="308" y="221"/>
                    </a:lnTo>
                    <a:lnTo>
                      <a:pt x="300" y="221"/>
                    </a:lnTo>
                    <a:lnTo>
                      <a:pt x="291" y="213"/>
                    </a:lnTo>
                    <a:lnTo>
                      <a:pt x="291" y="213"/>
                    </a:lnTo>
                    <a:lnTo>
                      <a:pt x="291" y="213"/>
                    </a:lnTo>
                    <a:lnTo>
                      <a:pt x="282" y="213"/>
                    </a:lnTo>
                    <a:lnTo>
                      <a:pt x="282" y="204"/>
                    </a:lnTo>
                    <a:lnTo>
                      <a:pt x="273" y="204"/>
                    </a:lnTo>
                    <a:lnTo>
                      <a:pt x="264" y="204"/>
                    </a:lnTo>
                    <a:lnTo>
                      <a:pt x="264" y="204"/>
                    </a:lnTo>
                    <a:lnTo>
                      <a:pt x="256" y="213"/>
                    </a:lnTo>
                    <a:lnTo>
                      <a:pt x="256" y="221"/>
                    </a:lnTo>
                    <a:lnTo>
                      <a:pt x="256" y="221"/>
                    </a:lnTo>
                    <a:lnTo>
                      <a:pt x="256" y="230"/>
                    </a:lnTo>
                    <a:lnTo>
                      <a:pt x="264" y="230"/>
                    </a:lnTo>
                    <a:lnTo>
                      <a:pt x="282" y="230"/>
                    </a:lnTo>
                    <a:lnTo>
                      <a:pt x="282" y="221"/>
                    </a:lnTo>
                    <a:lnTo>
                      <a:pt x="291" y="221"/>
                    </a:lnTo>
                    <a:lnTo>
                      <a:pt x="291" y="221"/>
                    </a:lnTo>
                    <a:lnTo>
                      <a:pt x="300" y="221"/>
                    </a:lnTo>
                    <a:lnTo>
                      <a:pt x="300" y="221"/>
                    </a:lnTo>
                    <a:lnTo>
                      <a:pt x="308" y="221"/>
                    </a:lnTo>
                    <a:lnTo>
                      <a:pt x="308" y="221"/>
                    </a:lnTo>
                    <a:lnTo>
                      <a:pt x="300" y="221"/>
                    </a:lnTo>
                    <a:lnTo>
                      <a:pt x="291" y="230"/>
                    </a:lnTo>
                    <a:lnTo>
                      <a:pt x="291" y="230"/>
                    </a:lnTo>
                    <a:lnTo>
                      <a:pt x="300" y="239"/>
                    </a:lnTo>
                    <a:lnTo>
                      <a:pt x="300" y="239"/>
                    </a:lnTo>
                    <a:lnTo>
                      <a:pt x="300" y="239"/>
                    </a:lnTo>
                    <a:lnTo>
                      <a:pt x="308" y="239"/>
                    </a:lnTo>
                    <a:lnTo>
                      <a:pt x="308" y="239"/>
                    </a:lnTo>
                    <a:lnTo>
                      <a:pt x="308" y="230"/>
                    </a:lnTo>
                    <a:lnTo>
                      <a:pt x="317" y="221"/>
                    </a:lnTo>
                    <a:lnTo>
                      <a:pt x="317" y="230"/>
                    </a:lnTo>
                    <a:lnTo>
                      <a:pt x="317" y="239"/>
                    </a:lnTo>
                    <a:lnTo>
                      <a:pt x="326" y="239"/>
                    </a:lnTo>
                    <a:lnTo>
                      <a:pt x="326" y="239"/>
                    </a:lnTo>
                    <a:lnTo>
                      <a:pt x="326" y="248"/>
                    </a:lnTo>
                    <a:lnTo>
                      <a:pt x="326" y="248"/>
                    </a:lnTo>
                    <a:lnTo>
                      <a:pt x="317" y="248"/>
                    </a:lnTo>
                    <a:lnTo>
                      <a:pt x="308" y="248"/>
                    </a:lnTo>
                    <a:lnTo>
                      <a:pt x="317" y="257"/>
                    </a:lnTo>
                    <a:lnTo>
                      <a:pt x="317" y="257"/>
                    </a:lnTo>
                    <a:lnTo>
                      <a:pt x="317" y="257"/>
                    </a:lnTo>
                    <a:lnTo>
                      <a:pt x="308" y="257"/>
                    </a:lnTo>
                    <a:lnTo>
                      <a:pt x="308" y="266"/>
                    </a:lnTo>
                    <a:lnTo>
                      <a:pt x="308" y="266"/>
                    </a:lnTo>
                    <a:lnTo>
                      <a:pt x="308" y="266"/>
                    </a:lnTo>
                    <a:lnTo>
                      <a:pt x="308" y="274"/>
                    </a:lnTo>
                    <a:lnTo>
                      <a:pt x="317" y="274"/>
                    </a:lnTo>
                    <a:lnTo>
                      <a:pt x="317" y="274"/>
                    </a:lnTo>
                    <a:lnTo>
                      <a:pt x="326" y="274"/>
                    </a:lnTo>
                    <a:lnTo>
                      <a:pt x="335" y="283"/>
                    </a:lnTo>
                    <a:lnTo>
                      <a:pt x="344" y="283"/>
                    </a:lnTo>
                    <a:lnTo>
                      <a:pt x="344" y="283"/>
                    </a:lnTo>
                    <a:lnTo>
                      <a:pt x="352" y="292"/>
                    </a:lnTo>
                    <a:lnTo>
                      <a:pt x="352" y="292"/>
                    </a:lnTo>
                    <a:lnTo>
                      <a:pt x="352" y="292"/>
                    </a:lnTo>
                    <a:lnTo>
                      <a:pt x="352" y="292"/>
                    </a:lnTo>
                    <a:lnTo>
                      <a:pt x="352" y="301"/>
                    </a:lnTo>
                    <a:lnTo>
                      <a:pt x="344" y="301"/>
                    </a:lnTo>
                    <a:lnTo>
                      <a:pt x="344" y="310"/>
                    </a:lnTo>
                    <a:lnTo>
                      <a:pt x="335" y="301"/>
                    </a:lnTo>
                    <a:lnTo>
                      <a:pt x="335" y="301"/>
                    </a:lnTo>
                    <a:lnTo>
                      <a:pt x="335" y="310"/>
                    </a:lnTo>
                    <a:lnTo>
                      <a:pt x="326" y="319"/>
                    </a:lnTo>
                    <a:lnTo>
                      <a:pt x="335" y="301"/>
                    </a:lnTo>
                    <a:lnTo>
                      <a:pt x="335" y="301"/>
                    </a:lnTo>
                    <a:lnTo>
                      <a:pt x="335" y="292"/>
                    </a:lnTo>
                    <a:lnTo>
                      <a:pt x="335" y="301"/>
                    </a:lnTo>
                    <a:lnTo>
                      <a:pt x="326" y="301"/>
                    </a:lnTo>
                    <a:lnTo>
                      <a:pt x="326" y="292"/>
                    </a:lnTo>
                    <a:lnTo>
                      <a:pt x="326" y="292"/>
                    </a:lnTo>
                    <a:lnTo>
                      <a:pt x="317" y="292"/>
                    </a:lnTo>
                    <a:lnTo>
                      <a:pt x="308" y="292"/>
                    </a:lnTo>
                    <a:lnTo>
                      <a:pt x="308" y="283"/>
                    </a:lnTo>
                    <a:lnTo>
                      <a:pt x="300" y="283"/>
                    </a:lnTo>
                    <a:lnTo>
                      <a:pt x="300" y="283"/>
                    </a:lnTo>
                    <a:lnTo>
                      <a:pt x="300" y="283"/>
                    </a:lnTo>
                    <a:lnTo>
                      <a:pt x="300" y="274"/>
                    </a:lnTo>
                    <a:lnTo>
                      <a:pt x="291" y="274"/>
                    </a:lnTo>
                    <a:lnTo>
                      <a:pt x="291" y="274"/>
                    </a:lnTo>
                    <a:lnTo>
                      <a:pt x="273" y="266"/>
                    </a:lnTo>
                    <a:lnTo>
                      <a:pt x="273" y="266"/>
                    </a:lnTo>
                    <a:lnTo>
                      <a:pt x="273" y="274"/>
                    </a:lnTo>
                    <a:lnTo>
                      <a:pt x="282" y="274"/>
                    </a:lnTo>
                    <a:lnTo>
                      <a:pt x="282" y="292"/>
                    </a:lnTo>
                    <a:lnTo>
                      <a:pt x="282" y="292"/>
                    </a:lnTo>
                    <a:lnTo>
                      <a:pt x="282" y="292"/>
                    </a:lnTo>
                    <a:lnTo>
                      <a:pt x="282" y="301"/>
                    </a:lnTo>
                    <a:lnTo>
                      <a:pt x="273" y="301"/>
                    </a:lnTo>
                    <a:lnTo>
                      <a:pt x="273" y="310"/>
                    </a:lnTo>
                    <a:lnTo>
                      <a:pt x="264" y="301"/>
                    </a:lnTo>
                    <a:lnTo>
                      <a:pt x="273" y="292"/>
                    </a:lnTo>
                    <a:lnTo>
                      <a:pt x="264" y="292"/>
                    </a:lnTo>
                    <a:lnTo>
                      <a:pt x="256" y="292"/>
                    </a:lnTo>
                    <a:lnTo>
                      <a:pt x="256" y="292"/>
                    </a:lnTo>
                    <a:lnTo>
                      <a:pt x="256" y="292"/>
                    </a:lnTo>
                    <a:lnTo>
                      <a:pt x="247" y="292"/>
                    </a:lnTo>
                    <a:lnTo>
                      <a:pt x="247" y="292"/>
                    </a:lnTo>
                    <a:lnTo>
                      <a:pt x="247" y="301"/>
                    </a:lnTo>
                    <a:lnTo>
                      <a:pt x="247" y="301"/>
                    </a:lnTo>
                    <a:lnTo>
                      <a:pt x="238" y="310"/>
                    </a:lnTo>
                    <a:lnTo>
                      <a:pt x="229" y="301"/>
                    </a:lnTo>
                    <a:lnTo>
                      <a:pt x="229" y="301"/>
                    </a:lnTo>
                    <a:lnTo>
                      <a:pt x="229" y="310"/>
                    </a:lnTo>
                    <a:lnTo>
                      <a:pt x="220" y="301"/>
                    </a:lnTo>
                    <a:lnTo>
                      <a:pt x="212" y="301"/>
                    </a:lnTo>
                    <a:lnTo>
                      <a:pt x="212" y="301"/>
                    </a:lnTo>
                    <a:lnTo>
                      <a:pt x="212" y="292"/>
                    </a:lnTo>
                    <a:lnTo>
                      <a:pt x="203" y="292"/>
                    </a:lnTo>
                    <a:lnTo>
                      <a:pt x="203" y="283"/>
                    </a:lnTo>
                    <a:lnTo>
                      <a:pt x="194" y="283"/>
                    </a:lnTo>
                    <a:lnTo>
                      <a:pt x="203" y="274"/>
                    </a:lnTo>
                    <a:lnTo>
                      <a:pt x="203" y="274"/>
                    </a:lnTo>
                    <a:lnTo>
                      <a:pt x="203" y="266"/>
                    </a:lnTo>
                    <a:lnTo>
                      <a:pt x="203" y="274"/>
                    </a:lnTo>
                    <a:lnTo>
                      <a:pt x="194" y="274"/>
                    </a:lnTo>
                    <a:lnTo>
                      <a:pt x="194" y="274"/>
                    </a:lnTo>
                    <a:lnTo>
                      <a:pt x="185" y="274"/>
                    </a:lnTo>
                    <a:lnTo>
                      <a:pt x="176" y="274"/>
                    </a:lnTo>
                    <a:lnTo>
                      <a:pt x="176" y="266"/>
                    </a:lnTo>
                    <a:lnTo>
                      <a:pt x="176" y="266"/>
                    </a:lnTo>
                    <a:lnTo>
                      <a:pt x="168" y="257"/>
                    </a:lnTo>
                    <a:lnTo>
                      <a:pt x="159" y="266"/>
                    </a:lnTo>
                    <a:lnTo>
                      <a:pt x="159" y="266"/>
                    </a:lnTo>
                    <a:lnTo>
                      <a:pt x="159" y="257"/>
                    </a:lnTo>
                    <a:lnTo>
                      <a:pt x="159" y="257"/>
                    </a:lnTo>
                    <a:lnTo>
                      <a:pt x="150" y="257"/>
                    </a:lnTo>
                    <a:lnTo>
                      <a:pt x="141" y="257"/>
                    </a:lnTo>
                    <a:lnTo>
                      <a:pt x="141" y="266"/>
                    </a:lnTo>
                    <a:lnTo>
                      <a:pt x="132" y="266"/>
                    </a:lnTo>
                    <a:lnTo>
                      <a:pt x="141" y="266"/>
                    </a:lnTo>
                    <a:lnTo>
                      <a:pt x="141" y="274"/>
                    </a:lnTo>
                    <a:lnTo>
                      <a:pt x="141" y="274"/>
                    </a:lnTo>
                    <a:lnTo>
                      <a:pt x="132" y="274"/>
                    </a:lnTo>
                    <a:lnTo>
                      <a:pt x="124" y="274"/>
                    </a:lnTo>
                    <a:lnTo>
                      <a:pt x="97" y="274"/>
                    </a:lnTo>
                    <a:lnTo>
                      <a:pt x="88" y="274"/>
                    </a:lnTo>
                    <a:lnTo>
                      <a:pt x="88" y="266"/>
                    </a:lnTo>
                    <a:lnTo>
                      <a:pt x="80" y="266"/>
                    </a:lnTo>
                    <a:lnTo>
                      <a:pt x="62" y="266"/>
                    </a:lnTo>
                    <a:lnTo>
                      <a:pt x="62" y="266"/>
                    </a:lnTo>
                    <a:lnTo>
                      <a:pt x="53" y="257"/>
                    </a:lnTo>
                    <a:lnTo>
                      <a:pt x="53" y="257"/>
                    </a:lnTo>
                    <a:lnTo>
                      <a:pt x="62" y="257"/>
                    </a:lnTo>
                    <a:lnTo>
                      <a:pt x="62" y="248"/>
                    </a:lnTo>
                    <a:lnTo>
                      <a:pt x="62" y="248"/>
                    </a:lnTo>
                    <a:lnTo>
                      <a:pt x="53" y="239"/>
                    </a:lnTo>
                    <a:lnTo>
                      <a:pt x="53" y="257"/>
                    </a:lnTo>
                    <a:lnTo>
                      <a:pt x="53" y="257"/>
                    </a:lnTo>
                    <a:lnTo>
                      <a:pt x="53" y="257"/>
                    </a:lnTo>
                    <a:lnTo>
                      <a:pt x="53" y="266"/>
                    </a:lnTo>
                    <a:lnTo>
                      <a:pt x="27" y="266"/>
                    </a:lnTo>
                    <a:lnTo>
                      <a:pt x="27" y="266"/>
                    </a:lnTo>
                    <a:lnTo>
                      <a:pt x="18" y="266"/>
                    </a:lnTo>
                    <a:lnTo>
                      <a:pt x="18" y="257"/>
                    </a:lnTo>
                    <a:lnTo>
                      <a:pt x="27" y="257"/>
                    </a:lnTo>
                    <a:lnTo>
                      <a:pt x="27" y="257"/>
                    </a:lnTo>
                    <a:lnTo>
                      <a:pt x="27" y="248"/>
                    </a:lnTo>
                    <a:lnTo>
                      <a:pt x="27" y="248"/>
                    </a:lnTo>
                    <a:lnTo>
                      <a:pt x="27" y="248"/>
                    </a:lnTo>
                    <a:lnTo>
                      <a:pt x="27" y="239"/>
                    </a:lnTo>
                    <a:lnTo>
                      <a:pt x="27" y="239"/>
                    </a:lnTo>
                    <a:lnTo>
                      <a:pt x="27" y="221"/>
                    </a:lnTo>
                    <a:lnTo>
                      <a:pt x="27" y="213"/>
                    </a:lnTo>
                    <a:lnTo>
                      <a:pt x="27" y="213"/>
                    </a:lnTo>
                    <a:lnTo>
                      <a:pt x="27" y="204"/>
                    </a:lnTo>
                    <a:lnTo>
                      <a:pt x="27" y="195"/>
                    </a:lnTo>
                    <a:lnTo>
                      <a:pt x="36" y="195"/>
                    </a:lnTo>
                    <a:lnTo>
                      <a:pt x="36" y="186"/>
                    </a:lnTo>
                    <a:lnTo>
                      <a:pt x="36" y="177"/>
                    </a:lnTo>
                    <a:lnTo>
                      <a:pt x="36" y="177"/>
                    </a:lnTo>
                    <a:lnTo>
                      <a:pt x="36" y="168"/>
                    </a:lnTo>
                    <a:lnTo>
                      <a:pt x="36" y="168"/>
                    </a:lnTo>
                    <a:lnTo>
                      <a:pt x="36" y="159"/>
                    </a:lnTo>
                    <a:lnTo>
                      <a:pt x="36" y="159"/>
                    </a:lnTo>
                    <a:lnTo>
                      <a:pt x="36" y="151"/>
                    </a:lnTo>
                    <a:lnTo>
                      <a:pt x="36" y="151"/>
                    </a:lnTo>
                    <a:lnTo>
                      <a:pt x="27" y="142"/>
                    </a:lnTo>
                    <a:lnTo>
                      <a:pt x="27" y="133"/>
                    </a:lnTo>
                    <a:lnTo>
                      <a:pt x="27" y="133"/>
                    </a:lnTo>
                    <a:lnTo>
                      <a:pt x="27" y="133"/>
                    </a:lnTo>
                    <a:lnTo>
                      <a:pt x="18" y="124"/>
                    </a:lnTo>
                    <a:lnTo>
                      <a:pt x="18" y="124"/>
                    </a:lnTo>
                    <a:lnTo>
                      <a:pt x="18" y="115"/>
                    </a:lnTo>
                    <a:lnTo>
                      <a:pt x="18" y="98"/>
                    </a:lnTo>
                    <a:lnTo>
                      <a:pt x="9" y="98"/>
                    </a:lnTo>
                    <a:lnTo>
                      <a:pt x="0" y="89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87" name="Freeform 129"/>
              <p:cNvSpPr>
                <a:spLocks/>
              </p:cNvSpPr>
              <p:nvPr/>
            </p:nvSpPr>
            <p:spPr bwMode="auto">
              <a:xfrm>
                <a:off x="3491612" y="3872492"/>
                <a:ext cx="24149" cy="12075"/>
              </a:xfrm>
              <a:custGeom>
                <a:avLst/>
                <a:gdLst/>
                <a:ahLst/>
                <a:cxnLst>
                  <a:cxn ang="0">
                    <a:pos x="18" y="9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18" y="9"/>
                  </a:cxn>
                </a:cxnLst>
                <a:rect l="0" t="0" r="r" b="b"/>
                <a:pathLst>
                  <a:path w="18" h="9">
                    <a:moveTo>
                      <a:pt x="18" y="9"/>
                    </a:moveTo>
                    <a:lnTo>
                      <a:pt x="9" y="9"/>
                    </a:lnTo>
                    <a:lnTo>
                      <a:pt x="9" y="9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8" y="9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88" name="Freeform 130"/>
              <p:cNvSpPr>
                <a:spLocks/>
              </p:cNvSpPr>
              <p:nvPr/>
            </p:nvSpPr>
            <p:spPr bwMode="auto">
              <a:xfrm>
                <a:off x="3491612" y="3872492"/>
                <a:ext cx="24149" cy="12075"/>
              </a:xfrm>
              <a:custGeom>
                <a:avLst/>
                <a:gdLst/>
                <a:ahLst/>
                <a:cxnLst>
                  <a:cxn ang="0">
                    <a:pos x="18" y="9"/>
                  </a:cxn>
                  <a:cxn ang="0">
                    <a:pos x="9" y="9"/>
                  </a:cxn>
                  <a:cxn ang="0">
                    <a:pos x="9" y="9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18" y="9"/>
                  </a:cxn>
                </a:cxnLst>
                <a:rect l="0" t="0" r="r" b="b"/>
                <a:pathLst>
                  <a:path w="18" h="9">
                    <a:moveTo>
                      <a:pt x="18" y="9"/>
                    </a:moveTo>
                    <a:lnTo>
                      <a:pt x="9" y="9"/>
                    </a:lnTo>
                    <a:lnTo>
                      <a:pt x="9" y="9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18" y="9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89" name="Freeform 131"/>
              <p:cNvSpPr>
                <a:spLocks/>
              </p:cNvSpPr>
              <p:nvPr/>
            </p:nvSpPr>
            <p:spPr bwMode="auto">
              <a:xfrm>
                <a:off x="3609676" y="2781745"/>
                <a:ext cx="602393" cy="319308"/>
              </a:xfrm>
              <a:custGeom>
                <a:avLst/>
                <a:gdLst/>
                <a:ahLst/>
                <a:cxnLst>
                  <a:cxn ang="0">
                    <a:pos x="9" y="230"/>
                  </a:cxn>
                  <a:cxn ang="0">
                    <a:pos x="9" y="221"/>
                  </a:cxn>
                  <a:cxn ang="0">
                    <a:pos x="18" y="203"/>
                  </a:cxn>
                  <a:cxn ang="0">
                    <a:pos x="9" y="185"/>
                  </a:cxn>
                  <a:cxn ang="0">
                    <a:pos x="26" y="176"/>
                  </a:cxn>
                  <a:cxn ang="0">
                    <a:pos x="44" y="185"/>
                  </a:cxn>
                  <a:cxn ang="0">
                    <a:pos x="53" y="176"/>
                  </a:cxn>
                  <a:cxn ang="0">
                    <a:pos x="53" y="159"/>
                  </a:cxn>
                  <a:cxn ang="0">
                    <a:pos x="70" y="150"/>
                  </a:cxn>
                  <a:cxn ang="0">
                    <a:pos x="70" y="132"/>
                  </a:cxn>
                  <a:cxn ang="0">
                    <a:pos x="79" y="123"/>
                  </a:cxn>
                  <a:cxn ang="0">
                    <a:pos x="79" y="115"/>
                  </a:cxn>
                  <a:cxn ang="0">
                    <a:pos x="97" y="123"/>
                  </a:cxn>
                  <a:cxn ang="0">
                    <a:pos x="106" y="115"/>
                  </a:cxn>
                  <a:cxn ang="0">
                    <a:pos x="132" y="123"/>
                  </a:cxn>
                  <a:cxn ang="0">
                    <a:pos x="141" y="106"/>
                  </a:cxn>
                  <a:cxn ang="0">
                    <a:pos x="150" y="106"/>
                  </a:cxn>
                  <a:cxn ang="0">
                    <a:pos x="167" y="106"/>
                  </a:cxn>
                  <a:cxn ang="0">
                    <a:pos x="167" y="88"/>
                  </a:cxn>
                  <a:cxn ang="0">
                    <a:pos x="176" y="88"/>
                  </a:cxn>
                  <a:cxn ang="0">
                    <a:pos x="194" y="97"/>
                  </a:cxn>
                  <a:cxn ang="0">
                    <a:pos x="202" y="79"/>
                  </a:cxn>
                  <a:cxn ang="0">
                    <a:pos x="220" y="70"/>
                  </a:cxn>
                  <a:cxn ang="0">
                    <a:pos x="229" y="53"/>
                  </a:cxn>
                  <a:cxn ang="0">
                    <a:pos x="229" y="35"/>
                  </a:cxn>
                  <a:cxn ang="0">
                    <a:pos x="238" y="35"/>
                  </a:cxn>
                  <a:cxn ang="0">
                    <a:pos x="264" y="17"/>
                  </a:cxn>
                  <a:cxn ang="0">
                    <a:pos x="255" y="0"/>
                  </a:cxn>
                  <a:cxn ang="0">
                    <a:pos x="273" y="0"/>
                  </a:cxn>
                  <a:cxn ang="0">
                    <a:pos x="290" y="8"/>
                  </a:cxn>
                  <a:cxn ang="0">
                    <a:pos x="317" y="17"/>
                  </a:cxn>
                  <a:cxn ang="0">
                    <a:pos x="334" y="26"/>
                  </a:cxn>
                  <a:cxn ang="0">
                    <a:pos x="352" y="26"/>
                  </a:cxn>
                  <a:cxn ang="0">
                    <a:pos x="361" y="26"/>
                  </a:cxn>
                  <a:cxn ang="0">
                    <a:pos x="378" y="8"/>
                  </a:cxn>
                  <a:cxn ang="0">
                    <a:pos x="396" y="26"/>
                  </a:cxn>
                  <a:cxn ang="0">
                    <a:pos x="405" y="35"/>
                  </a:cxn>
                  <a:cxn ang="0">
                    <a:pos x="405" y="53"/>
                  </a:cxn>
                  <a:cxn ang="0">
                    <a:pos x="422" y="79"/>
                  </a:cxn>
                  <a:cxn ang="0">
                    <a:pos x="449" y="97"/>
                  </a:cxn>
                  <a:cxn ang="0">
                    <a:pos x="414" y="141"/>
                  </a:cxn>
                  <a:cxn ang="0">
                    <a:pos x="405" y="159"/>
                  </a:cxn>
                  <a:cxn ang="0">
                    <a:pos x="387" y="168"/>
                  </a:cxn>
                  <a:cxn ang="0">
                    <a:pos x="370" y="176"/>
                  </a:cxn>
                  <a:cxn ang="0">
                    <a:pos x="352" y="194"/>
                  </a:cxn>
                  <a:cxn ang="0">
                    <a:pos x="290" y="194"/>
                  </a:cxn>
                  <a:cxn ang="0">
                    <a:pos x="211" y="203"/>
                  </a:cxn>
                  <a:cxn ang="0">
                    <a:pos x="123" y="212"/>
                  </a:cxn>
                  <a:cxn ang="0">
                    <a:pos x="79" y="212"/>
                  </a:cxn>
                  <a:cxn ang="0">
                    <a:pos x="0" y="238"/>
                  </a:cxn>
                </a:cxnLst>
                <a:rect l="0" t="0" r="r" b="b"/>
                <a:pathLst>
                  <a:path w="449" h="238">
                    <a:moveTo>
                      <a:pt x="0" y="238"/>
                    </a:moveTo>
                    <a:lnTo>
                      <a:pt x="0" y="230"/>
                    </a:lnTo>
                    <a:lnTo>
                      <a:pt x="9" y="230"/>
                    </a:lnTo>
                    <a:lnTo>
                      <a:pt x="9" y="230"/>
                    </a:lnTo>
                    <a:lnTo>
                      <a:pt x="9" y="221"/>
                    </a:lnTo>
                    <a:lnTo>
                      <a:pt x="9" y="221"/>
                    </a:lnTo>
                    <a:lnTo>
                      <a:pt x="18" y="212"/>
                    </a:lnTo>
                    <a:lnTo>
                      <a:pt x="18" y="203"/>
                    </a:lnTo>
                    <a:lnTo>
                      <a:pt x="18" y="203"/>
                    </a:lnTo>
                    <a:lnTo>
                      <a:pt x="18" y="194"/>
                    </a:lnTo>
                    <a:lnTo>
                      <a:pt x="9" y="194"/>
                    </a:lnTo>
                    <a:lnTo>
                      <a:pt x="9" y="185"/>
                    </a:lnTo>
                    <a:lnTo>
                      <a:pt x="18" y="176"/>
                    </a:lnTo>
                    <a:lnTo>
                      <a:pt x="26" y="176"/>
                    </a:lnTo>
                    <a:lnTo>
                      <a:pt x="26" y="176"/>
                    </a:lnTo>
                    <a:lnTo>
                      <a:pt x="35" y="176"/>
                    </a:lnTo>
                    <a:lnTo>
                      <a:pt x="44" y="185"/>
                    </a:lnTo>
                    <a:lnTo>
                      <a:pt x="44" y="185"/>
                    </a:lnTo>
                    <a:lnTo>
                      <a:pt x="53" y="185"/>
                    </a:lnTo>
                    <a:lnTo>
                      <a:pt x="53" y="176"/>
                    </a:lnTo>
                    <a:lnTo>
                      <a:pt x="53" y="176"/>
                    </a:lnTo>
                    <a:lnTo>
                      <a:pt x="53" y="168"/>
                    </a:lnTo>
                    <a:lnTo>
                      <a:pt x="53" y="168"/>
                    </a:lnTo>
                    <a:lnTo>
                      <a:pt x="53" y="159"/>
                    </a:lnTo>
                    <a:lnTo>
                      <a:pt x="53" y="159"/>
                    </a:lnTo>
                    <a:lnTo>
                      <a:pt x="62" y="159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41"/>
                    </a:lnTo>
                    <a:lnTo>
                      <a:pt x="70" y="132"/>
                    </a:lnTo>
                    <a:lnTo>
                      <a:pt x="70" y="132"/>
                    </a:lnTo>
                    <a:lnTo>
                      <a:pt x="79" y="123"/>
                    </a:lnTo>
                    <a:lnTo>
                      <a:pt x="79" y="123"/>
                    </a:lnTo>
                    <a:lnTo>
                      <a:pt x="79" y="123"/>
                    </a:lnTo>
                    <a:lnTo>
                      <a:pt x="79" y="123"/>
                    </a:lnTo>
                    <a:lnTo>
                      <a:pt x="79" y="115"/>
                    </a:lnTo>
                    <a:lnTo>
                      <a:pt x="88" y="115"/>
                    </a:lnTo>
                    <a:lnTo>
                      <a:pt x="97" y="115"/>
                    </a:lnTo>
                    <a:lnTo>
                      <a:pt x="97" y="123"/>
                    </a:lnTo>
                    <a:lnTo>
                      <a:pt x="106" y="115"/>
                    </a:lnTo>
                    <a:lnTo>
                      <a:pt x="97" y="115"/>
                    </a:lnTo>
                    <a:lnTo>
                      <a:pt x="106" y="115"/>
                    </a:lnTo>
                    <a:lnTo>
                      <a:pt x="114" y="106"/>
                    </a:lnTo>
                    <a:lnTo>
                      <a:pt x="132" y="115"/>
                    </a:lnTo>
                    <a:lnTo>
                      <a:pt x="132" y="123"/>
                    </a:lnTo>
                    <a:lnTo>
                      <a:pt x="132" y="115"/>
                    </a:lnTo>
                    <a:lnTo>
                      <a:pt x="132" y="115"/>
                    </a:lnTo>
                    <a:lnTo>
                      <a:pt x="141" y="106"/>
                    </a:lnTo>
                    <a:lnTo>
                      <a:pt x="141" y="106"/>
                    </a:lnTo>
                    <a:lnTo>
                      <a:pt x="150" y="106"/>
                    </a:lnTo>
                    <a:lnTo>
                      <a:pt x="150" y="106"/>
                    </a:lnTo>
                    <a:lnTo>
                      <a:pt x="158" y="106"/>
                    </a:lnTo>
                    <a:lnTo>
                      <a:pt x="158" y="115"/>
                    </a:lnTo>
                    <a:lnTo>
                      <a:pt x="167" y="106"/>
                    </a:lnTo>
                    <a:lnTo>
                      <a:pt x="167" y="106"/>
                    </a:lnTo>
                    <a:lnTo>
                      <a:pt x="167" y="97"/>
                    </a:lnTo>
                    <a:lnTo>
                      <a:pt x="167" y="88"/>
                    </a:lnTo>
                    <a:lnTo>
                      <a:pt x="176" y="88"/>
                    </a:lnTo>
                    <a:lnTo>
                      <a:pt x="176" y="79"/>
                    </a:lnTo>
                    <a:lnTo>
                      <a:pt x="176" y="88"/>
                    </a:lnTo>
                    <a:lnTo>
                      <a:pt x="185" y="97"/>
                    </a:lnTo>
                    <a:lnTo>
                      <a:pt x="185" y="97"/>
                    </a:lnTo>
                    <a:lnTo>
                      <a:pt x="194" y="97"/>
                    </a:lnTo>
                    <a:lnTo>
                      <a:pt x="202" y="97"/>
                    </a:lnTo>
                    <a:lnTo>
                      <a:pt x="202" y="88"/>
                    </a:lnTo>
                    <a:lnTo>
                      <a:pt x="202" y="79"/>
                    </a:lnTo>
                    <a:lnTo>
                      <a:pt x="202" y="70"/>
                    </a:lnTo>
                    <a:lnTo>
                      <a:pt x="211" y="70"/>
                    </a:lnTo>
                    <a:lnTo>
                      <a:pt x="220" y="70"/>
                    </a:lnTo>
                    <a:lnTo>
                      <a:pt x="220" y="62"/>
                    </a:lnTo>
                    <a:lnTo>
                      <a:pt x="220" y="53"/>
                    </a:lnTo>
                    <a:lnTo>
                      <a:pt x="229" y="53"/>
                    </a:lnTo>
                    <a:lnTo>
                      <a:pt x="229" y="44"/>
                    </a:lnTo>
                    <a:lnTo>
                      <a:pt x="229" y="35"/>
                    </a:lnTo>
                    <a:lnTo>
                      <a:pt x="229" y="35"/>
                    </a:lnTo>
                    <a:lnTo>
                      <a:pt x="229" y="35"/>
                    </a:lnTo>
                    <a:lnTo>
                      <a:pt x="238" y="35"/>
                    </a:lnTo>
                    <a:lnTo>
                      <a:pt x="238" y="35"/>
                    </a:lnTo>
                    <a:lnTo>
                      <a:pt x="255" y="26"/>
                    </a:lnTo>
                    <a:lnTo>
                      <a:pt x="264" y="26"/>
                    </a:lnTo>
                    <a:lnTo>
                      <a:pt x="264" y="17"/>
                    </a:lnTo>
                    <a:lnTo>
                      <a:pt x="255" y="17"/>
                    </a:lnTo>
                    <a:lnTo>
                      <a:pt x="264" y="8"/>
                    </a:lnTo>
                    <a:lnTo>
                      <a:pt x="255" y="0"/>
                    </a:lnTo>
                    <a:lnTo>
                      <a:pt x="255" y="0"/>
                    </a:lnTo>
                    <a:lnTo>
                      <a:pt x="264" y="0"/>
                    </a:lnTo>
                    <a:lnTo>
                      <a:pt x="273" y="0"/>
                    </a:lnTo>
                    <a:lnTo>
                      <a:pt x="282" y="0"/>
                    </a:lnTo>
                    <a:lnTo>
                      <a:pt x="290" y="0"/>
                    </a:lnTo>
                    <a:lnTo>
                      <a:pt x="290" y="8"/>
                    </a:lnTo>
                    <a:lnTo>
                      <a:pt x="299" y="17"/>
                    </a:lnTo>
                    <a:lnTo>
                      <a:pt x="308" y="17"/>
                    </a:lnTo>
                    <a:lnTo>
                      <a:pt x="317" y="17"/>
                    </a:lnTo>
                    <a:lnTo>
                      <a:pt x="317" y="17"/>
                    </a:lnTo>
                    <a:lnTo>
                      <a:pt x="334" y="26"/>
                    </a:lnTo>
                    <a:lnTo>
                      <a:pt x="334" y="26"/>
                    </a:lnTo>
                    <a:lnTo>
                      <a:pt x="343" y="26"/>
                    </a:lnTo>
                    <a:lnTo>
                      <a:pt x="343" y="26"/>
                    </a:lnTo>
                    <a:lnTo>
                      <a:pt x="352" y="26"/>
                    </a:lnTo>
                    <a:lnTo>
                      <a:pt x="352" y="26"/>
                    </a:lnTo>
                    <a:lnTo>
                      <a:pt x="361" y="26"/>
                    </a:lnTo>
                    <a:lnTo>
                      <a:pt x="361" y="26"/>
                    </a:lnTo>
                    <a:lnTo>
                      <a:pt x="370" y="17"/>
                    </a:lnTo>
                    <a:lnTo>
                      <a:pt x="370" y="17"/>
                    </a:lnTo>
                    <a:lnTo>
                      <a:pt x="378" y="8"/>
                    </a:lnTo>
                    <a:lnTo>
                      <a:pt x="387" y="17"/>
                    </a:lnTo>
                    <a:lnTo>
                      <a:pt x="387" y="26"/>
                    </a:lnTo>
                    <a:lnTo>
                      <a:pt x="396" y="26"/>
                    </a:lnTo>
                    <a:lnTo>
                      <a:pt x="396" y="35"/>
                    </a:lnTo>
                    <a:lnTo>
                      <a:pt x="405" y="35"/>
                    </a:lnTo>
                    <a:lnTo>
                      <a:pt x="405" y="35"/>
                    </a:lnTo>
                    <a:lnTo>
                      <a:pt x="405" y="44"/>
                    </a:lnTo>
                    <a:lnTo>
                      <a:pt x="405" y="44"/>
                    </a:lnTo>
                    <a:lnTo>
                      <a:pt x="405" y="53"/>
                    </a:lnTo>
                    <a:lnTo>
                      <a:pt x="414" y="70"/>
                    </a:lnTo>
                    <a:lnTo>
                      <a:pt x="414" y="70"/>
                    </a:lnTo>
                    <a:lnTo>
                      <a:pt x="422" y="79"/>
                    </a:lnTo>
                    <a:lnTo>
                      <a:pt x="431" y="88"/>
                    </a:lnTo>
                    <a:lnTo>
                      <a:pt x="440" y="97"/>
                    </a:lnTo>
                    <a:lnTo>
                      <a:pt x="449" y="97"/>
                    </a:lnTo>
                    <a:lnTo>
                      <a:pt x="431" y="123"/>
                    </a:lnTo>
                    <a:lnTo>
                      <a:pt x="414" y="132"/>
                    </a:lnTo>
                    <a:lnTo>
                      <a:pt x="414" y="141"/>
                    </a:lnTo>
                    <a:lnTo>
                      <a:pt x="414" y="150"/>
                    </a:lnTo>
                    <a:lnTo>
                      <a:pt x="405" y="150"/>
                    </a:lnTo>
                    <a:lnTo>
                      <a:pt x="405" y="159"/>
                    </a:lnTo>
                    <a:lnTo>
                      <a:pt x="396" y="159"/>
                    </a:lnTo>
                    <a:lnTo>
                      <a:pt x="396" y="159"/>
                    </a:lnTo>
                    <a:lnTo>
                      <a:pt x="387" y="168"/>
                    </a:lnTo>
                    <a:lnTo>
                      <a:pt x="387" y="168"/>
                    </a:lnTo>
                    <a:lnTo>
                      <a:pt x="378" y="176"/>
                    </a:lnTo>
                    <a:lnTo>
                      <a:pt x="370" y="176"/>
                    </a:lnTo>
                    <a:lnTo>
                      <a:pt x="370" y="185"/>
                    </a:lnTo>
                    <a:lnTo>
                      <a:pt x="352" y="185"/>
                    </a:lnTo>
                    <a:lnTo>
                      <a:pt x="352" y="194"/>
                    </a:lnTo>
                    <a:lnTo>
                      <a:pt x="326" y="194"/>
                    </a:lnTo>
                    <a:lnTo>
                      <a:pt x="308" y="194"/>
                    </a:lnTo>
                    <a:lnTo>
                      <a:pt x="290" y="194"/>
                    </a:lnTo>
                    <a:lnTo>
                      <a:pt x="255" y="194"/>
                    </a:lnTo>
                    <a:lnTo>
                      <a:pt x="246" y="203"/>
                    </a:lnTo>
                    <a:lnTo>
                      <a:pt x="211" y="203"/>
                    </a:lnTo>
                    <a:lnTo>
                      <a:pt x="185" y="203"/>
                    </a:lnTo>
                    <a:lnTo>
                      <a:pt x="150" y="212"/>
                    </a:lnTo>
                    <a:lnTo>
                      <a:pt x="123" y="212"/>
                    </a:lnTo>
                    <a:lnTo>
                      <a:pt x="97" y="212"/>
                    </a:lnTo>
                    <a:lnTo>
                      <a:pt x="88" y="212"/>
                    </a:lnTo>
                    <a:lnTo>
                      <a:pt x="79" y="212"/>
                    </a:lnTo>
                    <a:lnTo>
                      <a:pt x="88" y="221"/>
                    </a:lnTo>
                    <a:lnTo>
                      <a:pt x="88" y="230"/>
                    </a:lnTo>
                    <a:lnTo>
                      <a:pt x="0" y="238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90" name="Freeform 132"/>
              <p:cNvSpPr>
                <a:spLocks/>
              </p:cNvSpPr>
              <p:nvPr/>
            </p:nvSpPr>
            <p:spPr bwMode="auto">
              <a:xfrm>
                <a:off x="3609676" y="2781745"/>
                <a:ext cx="602393" cy="319308"/>
              </a:xfrm>
              <a:custGeom>
                <a:avLst/>
                <a:gdLst/>
                <a:ahLst/>
                <a:cxnLst>
                  <a:cxn ang="0">
                    <a:pos x="9" y="230"/>
                  </a:cxn>
                  <a:cxn ang="0">
                    <a:pos x="9" y="221"/>
                  </a:cxn>
                  <a:cxn ang="0">
                    <a:pos x="18" y="203"/>
                  </a:cxn>
                  <a:cxn ang="0">
                    <a:pos x="9" y="185"/>
                  </a:cxn>
                  <a:cxn ang="0">
                    <a:pos x="26" y="176"/>
                  </a:cxn>
                  <a:cxn ang="0">
                    <a:pos x="44" y="185"/>
                  </a:cxn>
                  <a:cxn ang="0">
                    <a:pos x="53" y="176"/>
                  </a:cxn>
                  <a:cxn ang="0">
                    <a:pos x="53" y="159"/>
                  </a:cxn>
                  <a:cxn ang="0">
                    <a:pos x="70" y="150"/>
                  </a:cxn>
                  <a:cxn ang="0">
                    <a:pos x="70" y="132"/>
                  </a:cxn>
                  <a:cxn ang="0">
                    <a:pos x="79" y="123"/>
                  </a:cxn>
                  <a:cxn ang="0">
                    <a:pos x="79" y="115"/>
                  </a:cxn>
                  <a:cxn ang="0">
                    <a:pos x="97" y="123"/>
                  </a:cxn>
                  <a:cxn ang="0">
                    <a:pos x="106" y="115"/>
                  </a:cxn>
                  <a:cxn ang="0">
                    <a:pos x="132" y="123"/>
                  </a:cxn>
                  <a:cxn ang="0">
                    <a:pos x="141" y="106"/>
                  </a:cxn>
                  <a:cxn ang="0">
                    <a:pos x="150" y="106"/>
                  </a:cxn>
                  <a:cxn ang="0">
                    <a:pos x="167" y="106"/>
                  </a:cxn>
                  <a:cxn ang="0">
                    <a:pos x="167" y="88"/>
                  </a:cxn>
                  <a:cxn ang="0">
                    <a:pos x="176" y="88"/>
                  </a:cxn>
                  <a:cxn ang="0">
                    <a:pos x="194" y="97"/>
                  </a:cxn>
                  <a:cxn ang="0">
                    <a:pos x="202" y="79"/>
                  </a:cxn>
                  <a:cxn ang="0">
                    <a:pos x="220" y="70"/>
                  </a:cxn>
                  <a:cxn ang="0">
                    <a:pos x="229" y="53"/>
                  </a:cxn>
                  <a:cxn ang="0">
                    <a:pos x="229" y="35"/>
                  </a:cxn>
                  <a:cxn ang="0">
                    <a:pos x="238" y="35"/>
                  </a:cxn>
                  <a:cxn ang="0">
                    <a:pos x="264" y="17"/>
                  </a:cxn>
                  <a:cxn ang="0">
                    <a:pos x="255" y="0"/>
                  </a:cxn>
                  <a:cxn ang="0">
                    <a:pos x="273" y="0"/>
                  </a:cxn>
                  <a:cxn ang="0">
                    <a:pos x="290" y="8"/>
                  </a:cxn>
                  <a:cxn ang="0">
                    <a:pos x="317" y="17"/>
                  </a:cxn>
                  <a:cxn ang="0">
                    <a:pos x="334" y="26"/>
                  </a:cxn>
                  <a:cxn ang="0">
                    <a:pos x="352" y="26"/>
                  </a:cxn>
                  <a:cxn ang="0">
                    <a:pos x="361" y="26"/>
                  </a:cxn>
                  <a:cxn ang="0">
                    <a:pos x="378" y="8"/>
                  </a:cxn>
                  <a:cxn ang="0">
                    <a:pos x="396" y="26"/>
                  </a:cxn>
                  <a:cxn ang="0">
                    <a:pos x="405" y="35"/>
                  </a:cxn>
                  <a:cxn ang="0">
                    <a:pos x="405" y="53"/>
                  </a:cxn>
                  <a:cxn ang="0">
                    <a:pos x="422" y="79"/>
                  </a:cxn>
                  <a:cxn ang="0">
                    <a:pos x="449" y="97"/>
                  </a:cxn>
                  <a:cxn ang="0">
                    <a:pos x="414" y="141"/>
                  </a:cxn>
                  <a:cxn ang="0">
                    <a:pos x="405" y="159"/>
                  </a:cxn>
                  <a:cxn ang="0">
                    <a:pos x="387" y="168"/>
                  </a:cxn>
                  <a:cxn ang="0">
                    <a:pos x="370" y="176"/>
                  </a:cxn>
                  <a:cxn ang="0">
                    <a:pos x="352" y="194"/>
                  </a:cxn>
                  <a:cxn ang="0">
                    <a:pos x="290" y="194"/>
                  </a:cxn>
                  <a:cxn ang="0">
                    <a:pos x="211" y="203"/>
                  </a:cxn>
                  <a:cxn ang="0">
                    <a:pos x="123" y="212"/>
                  </a:cxn>
                  <a:cxn ang="0">
                    <a:pos x="79" y="212"/>
                  </a:cxn>
                  <a:cxn ang="0">
                    <a:pos x="0" y="238"/>
                  </a:cxn>
                </a:cxnLst>
                <a:rect l="0" t="0" r="r" b="b"/>
                <a:pathLst>
                  <a:path w="449" h="238">
                    <a:moveTo>
                      <a:pt x="0" y="238"/>
                    </a:moveTo>
                    <a:lnTo>
                      <a:pt x="0" y="230"/>
                    </a:lnTo>
                    <a:lnTo>
                      <a:pt x="9" y="230"/>
                    </a:lnTo>
                    <a:lnTo>
                      <a:pt x="9" y="230"/>
                    </a:lnTo>
                    <a:lnTo>
                      <a:pt x="9" y="221"/>
                    </a:lnTo>
                    <a:lnTo>
                      <a:pt x="9" y="221"/>
                    </a:lnTo>
                    <a:lnTo>
                      <a:pt x="18" y="212"/>
                    </a:lnTo>
                    <a:lnTo>
                      <a:pt x="18" y="203"/>
                    </a:lnTo>
                    <a:lnTo>
                      <a:pt x="18" y="203"/>
                    </a:lnTo>
                    <a:lnTo>
                      <a:pt x="18" y="194"/>
                    </a:lnTo>
                    <a:lnTo>
                      <a:pt x="9" y="194"/>
                    </a:lnTo>
                    <a:lnTo>
                      <a:pt x="9" y="185"/>
                    </a:lnTo>
                    <a:lnTo>
                      <a:pt x="18" y="176"/>
                    </a:lnTo>
                    <a:lnTo>
                      <a:pt x="26" y="176"/>
                    </a:lnTo>
                    <a:lnTo>
                      <a:pt x="26" y="176"/>
                    </a:lnTo>
                    <a:lnTo>
                      <a:pt x="35" y="176"/>
                    </a:lnTo>
                    <a:lnTo>
                      <a:pt x="44" y="185"/>
                    </a:lnTo>
                    <a:lnTo>
                      <a:pt x="44" y="185"/>
                    </a:lnTo>
                    <a:lnTo>
                      <a:pt x="53" y="185"/>
                    </a:lnTo>
                    <a:lnTo>
                      <a:pt x="53" y="176"/>
                    </a:lnTo>
                    <a:lnTo>
                      <a:pt x="53" y="176"/>
                    </a:lnTo>
                    <a:lnTo>
                      <a:pt x="53" y="168"/>
                    </a:lnTo>
                    <a:lnTo>
                      <a:pt x="53" y="168"/>
                    </a:lnTo>
                    <a:lnTo>
                      <a:pt x="53" y="159"/>
                    </a:lnTo>
                    <a:lnTo>
                      <a:pt x="53" y="159"/>
                    </a:lnTo>
                    <a:lnTo>
                      <a:pt x="62" y="159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41"/>
                    </a:lnTo>
                    <a:lnTo>
                      <a:pt x="70" y="132"/>
                    </a:lnTo>
                    <a:lnTo>
                      <a:pt x="70" y="132"/>
                    </a:lnTo>
                    <a:lnTo>
                      <a:pt x="79" y="123"/>
                    </a:lnTo>
                    <a:lnTo>
                      <a:pt x="79" y="123"/>
                    </a:lnTo>
                    <a:lnTo>
                      <a:pt x="79" y="123"/>
                    </a:lnTo>
                    <a:lnTo>
                      <a:pt x="79" y="123"/>
                    </a:lnTo>
                    <a:lnTo>
                      <a:pt x="79" y="115"/>
                    </a:lnTo>
                    <a:lnTo>
                      <a:pt x="88" y="115"/>
                    </a:lnTo>
                    <a:lnTo>
                      <a:pt x="97" y="115"/>
                    </a:lnTo>
                    <a:lnTo>
                      <a:pt x="97" y="123"/>
                    </a:lnTo>
                    <a:lnTo>
                      <a:pt x="106" y="115"/>
                    </a:lnTo>
                    <a:lnTo>
                      <a:pt x="97" y="115"/>
                    </a:lnTo>
                    <a:lnTo>
                      <a:pt x="106" y="115"/>
                    </a:lnTo>
                    <a:lnTo>
                      <a:pt x="114" y="106"/>
                    </a:lnTo>
                    <a:lnTo>
                      <a:pt x="132" y="115"/>
                    </a:lnTo>
                    <a:lnTo>
                      <a:pt x="132" y="123"/>
                    </a:lnTo>
                    <a:lnTo>
                      <a:pt x="132" y="115"/>
                    </a:lnTo>
                    <a:lnTo>
                      <a:pt x="132" y="115"/>
                    </a:lnTo>
                    <a:lnTo>
                      <a:pt x="141" y="106"/>
                    </a:lnTo>
                    <a:lnTo>
                      <a:pt x="141" y="106"/>
                    </a:lnTo>
                    <a:lnTo>
                      <a:pt x="150" y="106"/>
                    </a:lnTo>
                    <a:lnTo>
                      <a:pt x="150" y="106"/>
                    </a:lnTo>
                    <a:lnTo>
                      <a:pt x="158" y="106"/>
                    </a:lnTo>
                    <a:lnTo>
                      <a:pt x="158" y="115"/>
                    </a:lnTo>
                    <a:lnTo>
                      <a:pt x="167" y="106"/>
                    </a:lnTo>
                    <a:lnTo>
                      <a:pt x="167" y="106"/>
                    </a:lnTo>
                    <a:lnTo>
                      <a:pt x="167" y="97"/>
                    </a:lnTo>
                    <a:lnTo>
                      <a:pt x="167" y="88"/>
                    </a:lnTo>
                    <a:lnTo>
                      <a:pt x="176" y="88"/>
                    </a:lnTo>
                    <a:lnTo>
                      <a:pt x="176" y="79"/>
                    </a:lnTo>
                    <a:lnTo>
                      <a:pt x="176" y="88"/>
                    </a:lnTo>
                    <a:lnTo>
                      <a:pt x="185" y="97"/>
                    </a:lnTo>
                    <a:lnTo>
                      <a:pt x="185" y="97"/>
                    </a:lnTo>
                    <a:lnTo>
                      <a:pt x="194" y="97"/>
                    </a:lnTo>
                    <a:lnTo>
                      <a:pt x="202" y="97"/>
                    </a:lnTo>
                    <a:lnTo>
                      <a:pt x="202" y="88"/>
                    </a:lnTo>
                    <a:lnTo>
                      <a:pt x="202" y="79"/>
                    </a:lnTo>
                    <a:lnTo>
                      <a:pt x="202" y="70"/>
                    </a:lnTo>
                    <a:lnTo>
                      <a:pt x="211" y="70"/>
                    </a:lnTo>
                    <a:lnTo>
                      <a:pt x="220" y="70"/>
                    </a:lnTo>
                    <a:lnTo>
                      <a:pt x="220" y="62"/>
                    </a:lnTo>
                    <a:lnTo>
                      <a:pt x="220" y="53"/>
                    </a:lnTo>
                    <a:lnTo>
                      <a:pt x="229" y="53"/>
                    </a:lnTo>
                    <a:lnTo>
                      <a:pt x="229" y="44"/>
                    </a:lnTo>
                    <a:lnTo>
                      <a:pt x="229" y="35"/>
                    </a:lnTo>
                    <a:lnTo>
                      <a:pt x="229" y="35"/>
                    </a:lnTo>
                    <a:lnTo>
                      <a:pt x="229" y="35"/>
                    </a:lnTo>
                    <a:lnTo>
                      <a:pt x="238" y="35"/>
                    </a:lnTo>
                    <a:lnTo>
                      <a:pt x="238" y="35"/>
                    </a:lnTo>
                    <a:lnTo>
                      <a:pt x="255" y="26"/>
                    </a:lnTo>
                    <a:lnTo>
                      <a:pt x="264" y="26"/>
                    </a:lnTo>
                    <a:lnTo>
                      <a:pt x="264" y="17"/>
                    </a:lnTo>
                    <a:lnTo>
                      <a:pt x="255" y="17"/>
                    </a:lnTo>
                    <a:lnTo>
                      <a:pt x="264" y="8"/>
                    </a:lnTo>
                    <a:lnTo>
                      <a:pt x="255" y="0"/>
                    </a:lnTo>
                    <a:lnTo>
                      <a:pt x="255" y="0"/>
                    </a:lnTo>
                    <a:lnTo>
                      <a:pt x="264" y="0"/>
                    </a:lnTo>
                    <a:lnTo>
                      <a:pt x="273" y="0"/>
                    </a:lnTo>
                    <a:lnTo>
                      <a:pt x="282" y="0"/>
                    </a:lnTo>
                    <a:lnTo>
                      <a:pt x="290" y="0"/>
                    </a:lnTo>
                    <a:lnTo>
                      <a:pt x="290" y="8"/>
                    </a:lnTo>
                    <a:lnTo>
                      <a:pt x="299" y="17"/>
                    </a:lnTo>
                    <a:lnTo>
                      <a:pt x="308" y="17"/>
                    </a:lnTo>
                    <a:lnTo>
                      <a:pt x="317" y="17"/>
                    </a:lnTo>
                    <a:lnTo>
                      <a:pt x="317" y="17"/>
                    </a:lnTo>
                    <a:lnTo>
                      <a:pt x="334" y="26"/>
                    </a:lnTo>
                    <a:lnTo>
                      <a:pt x="334" y="26"/>
                    </a:lnTo>
                    <a:lnTo>
                      <a:pt x="343" y="26"/>
                    </a:lnTo>
                    <a:lnTo>
                      <a:pt x="343" y="26"/>
                    </a:lnTo>
                    <a:lnTo>
                      <a:pt x="352" y="26"/>
                    </a:lnTo>
                    <a:lnTo>
                      <a:pt x="352" y="26"/>
                    </a:lnTo>
                    <a:lnTo>
                      <a:pt x="361" y="26"/>
                    </a:lnTo>
                    <a:lnTo>
                      <a:pt x="361" y="26"/>
                    </a:lnTo>
                    <a:lnTo>
                      <a:pt x="370" y="17"/>
                    </a:lnTo>
                    <a:lnTo>
                      <a:pt x="370" y="17"/>
                    </a:lnTo>
                    <a:lnTo>
                      <a:pt x="378" y="8"/>
                    </a:lnTo>
                    <a:lnTo>
                      <a:pt x="387" y="17"/>
                    </a:lnTo>
                    <a:lnTo>
                      <a:pt x="387" y="26"/>
                    </a:lnTo>
                    <a:lnTo>
                      <a:pt x="396" y="26"/>
                    </a:lnTo>
                    <a:lnTo>
                      <a:pt x="396" y="35"/>
                    </a:lnTo>
                    <a:lnTo>
                      <a:pt x="405" y="35"/>
                    </a:lnTo>
                    <a:lnTo>
                      <a:pt x="405" y="35"/>
                    </a:lnTo>
                    <a:lnTo>
                      <a:pt x="405" y="44"/>
                    </a:lnTo>
                    <a:lnTo>
                      <a:pt x="405" y="44"/>
                    </a:lnTo>
                    <a:lnTo>
                      <a:pt x="405" y="53"/>
                    </a:lnTo>
                    <a:lnTo>
                      <a:pt x="414" y="70"/>
                    </a:lnTo>
                    <a:lnTo>
                      <a:pt x="414" y="70"/>
                    </a:lnTo>
                    <a:lnTo>
                      <a:pt x="422" y="79"/>
                    </a:lnTo>
                    <a:lnTo>
                      <a:pt x="431" y="88"/>
                    </a:lnTo>
                    <a:lnTo>
                      <a:pt x="440" y="97"/>
                    </a:lnTo>
                    <a:lnTo>
                      <a:pt x="449" y="97"/>
                    </a:lnTo>
                    <a:lnTo>
                      <a:pt x="431" y="123"/>
                    </a:lnTo>
                    <a:lnTo>
                      <a:pt x="414" y="132"/>
                    </a:lnTo>
                    <a:lnTo>
                      <a:pt x="414" y="141"/>
                    </a:lnTo>
                    <a:lnTo>
                      <a:pt x="414" y="150"/>
                    </a:lnTo>
                    <a:lnTo>
                      <a:pt x="405" y="150"/>
                    </a:lnTo>
                    <a:lnTo>
                      <a:pt x="405" y="159"/>
                    </a:lnTo>
                    <a:lnTo>
                      <a:pt x="396" y="159"/>
                    </a:lnTo>
                    <a:lnTo>
                      <a:pt x="396" y="159"/>
                    </a:lnTo>
                    <a:lnTo>
                      <a:pt x="387" y="168"/>
                    </a:lnTo>
                    <a:lnTo>
                      <a:pt x="387" y="168"/>
                    </a:lnTo>
                    <a:lnTo>
                      <a:pt x="378" y="176"/>
                    </a:lnTo>
                    <a:lnTo>
                      <a:pt x="370" y="176"/>
                    </a:lnTo>
                    <a:lnTo>
                      <a:pt x="370" y="185"/>
                    </a:lnTo>
                    <a:lnTo>
                      <a:pt x="352" y="185"/>
                    </a:lnTo>
                    <a:lnTo>
                      <a:pt x="352" y="194"/>
                    </a:lnTo>
                    <a:lnTo>
                      <a:pt x="326" y="194"/>
                    </a:lnTo>
                    <a:lnTo>
                      <a:pt x="308" y="194"/>
                    </a:lnTo>
                    <a:lnTo>
                      <a:pt x="290" y="194"/>
                    </a:lnTo>
                    <a:lnTo>
                      <a:pt x="255" y="194"/>
                    </a:lnTo>
                    <a:lnTo>
                      <a:pt x="246" y="203"/>
                    </a:lnTo>
                    <a:lnTo>
                      <a:pt x="211" y="203"/>
                    </a:lnTo>
                    <a:lnTo>
                      <a:pt x="185" y="203"/>
                    </a:lnTo>
                    <a:lnTo>
                      <a:pt x="150" y="212"/>
                    </a:lnTo>
                    <a:lnTo>
                      <a:pt x="123" y="212"/>
                    </a:lnTo>
                    <a:lnTo>
                      <a:pt x="97" y="212"/>
                    </a:lnTo>
                    <a:lnTo>
                      <a:pt x="88" y="212"/>
                    </a:lnTo>
                    <a:lnTo>
                      <a:pt x="79" y="212"/>
                    </a:lnTo>
                    <a:lnTo>
                      <a:pt x="88" y="221"/>
                    </a:lnTo>
                    <a:lnTo>
                      <a:pt x="88" y="230"/>
                    </a:lnTo>
                    <a:lnTo>
                      <a:pt x="0" y="238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91" name="Freeform 133"/>
              <p:cNvSpPr>
                <a:spLocks/>
              </p:cNvSpPr>
              <p:nvPr/>
            </p:nvSpPr>
            <p:spPr bwMode="auto">
              <a:xfrm>
                <a:off x="2547104" y="2733446"/>
                <a:ext cx="625200" cy="332725"/>
              </a:xfrm>
              <a:custGeom>
                <a:avLst/>
                <a:gdLst/>
                <a:ahLst/>
                <a:cxnLst>
                  <a:cxn ang="0">
                    <a:pos x="0" y="239"/>
                  </a:cxn>
                  <a:cxn ang="0">
                    <a:pos x="18" y="0"/>
                  </a:cxn>
                  <a:cxn ang="0">
                    <a:pos x="88" y="9"/>
                  </a:cxn>
                  <a:cxn ang="0">
                    <a:pos x="238" y="9"/>
                  </a:cxn>
                  <a:cxn ang="0">
                    <a:pos x="317" y="9"/>
                  </a:cxn>
                  <a:cxn ang="0">
                    <a:pos x="414" y="9"/>
                  </a:cxn>
                  <a:cxn ang="0">
                    <a:pos x="431" y="18"/>
                  </a:cxn>
                  <a:cxn ang="0">
                    <a:pos x="431" y="18"/>
                  </a:cxn>
                  <a:cxn ang="0">
                    <a:pos x="440" y="18"/>
                  </a:cxn>
                  <a:cxn ang="0">
                    <a:pos x="440" y="27"/>
                  </a:cxn>
                  <a:cxn ang="0">
                    <a:pos x="440" y="27"/>
                  </a:cxn>
                  <a:cxn ang="0">
                    <a:pos x="440" y="36"/>
                  </a:cxn>
                  <a:cxn ang="0">
                    <a:pos x="440" y="27"/>
                  </a:cxn>
                  <a:cxn ang="0">
                    <a:pos x="440" y="36"/>
                  </a:cxn>
                  <a:cxn ang="0">
                    <a:pos x="431" y="44"/>
                  </a:cxn>
                  <a:cxn ang="0">
                    <a:pos x="431" y="53"/>
                  </a:cxn>
                  <a:cxn ang="0">
                    <a:pos x="440" y="53"/>
                  </a:cxn>
                  <a:cxn ang="0">
                    <a:pos x="440" y="62"/>
                  </a:cxn>
                  <a:cxn ang="0">
                    <a:pos x="440" y="62"/>
                  </a:cxn>
                  <a:cxn ang="0">
                    <a:pos x="449" y="71"/>
                  </a:cxn>
                  <a:cxn ang="0">
                    <a:pos x="458" y="80"/>
                  </a:cxn>
                  <a:cxn ang="0">
                    <a:pos x="458" y="80"/>
                  </a:cxn>
                  <a:cxn ang="0">
                    <a:pos x="466" y="248"/>
                  </a:cxn>
                  <a:cxn ang="0">
                    <a:pos x="387" y="248"/>
                  </a:cxn>
                  <a:cxn ang="0">
                    <a:pos x="247" y="248"/>
                  </a:cxn>
                  <a:cxn ang="0">
                    <a:pos x="106" y="248"/>
                  </a:cxn>
                  <a:cxn ang="0">
                    <a:pos x="0" y="239"/>
                  </a:cxn>
                </a:cxnLst>
                <a:rect l="0" t="0" r="r" b="b"/>
                <a:pathLst>
                  <a:path w="466" h="248">
                    <a:moveTo>
                      <a:pt x="0" y="239"/>
                    </a:moveTo>
                    <a:lnTo>
                      <a:pt x="18" y="0"/>
                    </a:lnTo>
                    <a:lnTo>
                      <a:pt x="88" y="9"/>
                    </a:lnTo>
                    <a:lnTo>
                      <a:pt x="238" y="9"/>
                    </a:lnTo>
                    <a:lnTo>
                      <a:pt x="317" y="9"/>
                    </a:lnTo>
                    <a:lnTo>
                      <a:pt x="414" y="9"/>
                    </a:lnTo>
                    <a:lnTo>
                      <a:pt x="431" y="18"/>
                    </a:lnTo>
                    <a:lnTo>
                      <a:pt x="431" y="18"/>
                    </a:lnTo>
                    <a:lnTo>
                      <a:pt x="440" y="18"/>
                    </a:lnTo>
                    <a:lnTo>
                      <a:pt x="440" y="27"/>
                    </a:lnTo>
                    <a:lnTo>
                      <a:pt x="440" y="27"/>
                    </a:lnTo>
                    <a:lnTo>
                      <a:pt x="440" y="36"/>
                    </a:lnTo>
                    <a:lnTo>
                      <a:pt x="440" y="27"/>
                    </a:lnTo>
                    <a:lnTo>
                      <a:pt x="440" y="36"/>
                    </a:lnTo>
                    <a:lnTo>
                      <a:pt x="431" y="44"/>
                    </a:lnTo>
                    <a:lnTo>
                      <a:pt x="431" y="53"/>
                    </a:lnTo>
                    <a:lnTo>
                      <a:pt x="440" y="53"/>
                    </a:lnTo>
                    <a:lnTo>
                      <a:pt x="440" y="62"/>
                    </a:lnTo>
                    <a:lnTo>
                      <a:pt x="440" y="62"/>
                    </a:lnTo>
                    <a:lnTo>
                      <a:pt x="449" y="71"/>
                    </a:lnTo>
                    <a:lnTo>
                      <a:pt x="458" y="80"/>
                    </a:lnTo>
                    <a:lnTo>
                      <a:pt x="458" y="80"/>
                    </a:lnTo>
                    <a:lnTo>
                      <a:pt x="466" y="248"/>
                    </a:lnTo>
                    <a:lnTo>
                      <a:pt x="387" y="248"/>
                    </a:lnTo>
                    <a:lnTo>
                      <a:pt x="247" y="248"/>
                    </a:lnTo>
                    <a:lnTo>
                      <a:pt x="106" y="248"/>
                    </a:lnTo>
                    <a:lnTo>
                      <a:pt x="0" y="239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92" name="Freeform 134"/>
              <p:cNvSpPr>
                <a:spLocks/>
              </p:cNvSpPr>
              <p:nvPr/>
            </p:nvSpPr>
            <p:spPr bwMode="auto">
              <a:xfrm>
                <a:off x="2547104" y="2733446"/>
                <a:ext cx="625200" cy="332725"/>
              </a:xfrm>
              <a:custGeom>
                <a:avLst/>
                <a:gdLst/>
                <a:ahLst/>
                <a:cxnLst>
                  <a:cxn ang="0">
                    <a:pos x="0" y="239"/>
                  </a:cxn>
                  <a:cxn ang="0">
                    <a:pos x="18" y="0"/>
                  </a:cxn>
                  <a:cxn ang="0">
                    <a:pos x="88" y="9"/>
                  </a:cxn>
                  <a:cxn ang="0">
                    <a:pos x="238" y="9"/>
                  </a:cxn>
                  <a:cxn ang="0">
                    <a:pos x="317" y="9"/>
                  </a:cxn>
                  <a:cxn ang="0">
                    <a:pos x="414" y="9"/>
                  </a:cxn>
                  <a:cxn ang="0">
                    <a:pos x="431" y="18"/>
                  </a:cxn>
                  <a:cxn ang="0">
                    <a:pos x="431" y="18"/>
                  </a:cxn>
                  <a:cxn ang="0">
                    <a:pos x="440" y="18"/>
                  </a:cxn>
                  <a:cxn ang="0">
                    <a:pos x="440" y="27"/>
                  </a:cxn>
                  <a:cxn ang="0">
                    <a:pos x="440" y="27"/>
                  </a:cxn>
                  <a:cxn ang="0">
                    <a:pos x="440" y="36"/>
                  </a:cxn>
                  <a:cxn ang="0">
                    <a:pos x="440" y="27"/>
                  </a:cxn>
                  <a:cxn ang="0">
                    <a:pos x="440" y="36"/>
                  </a:cxn>
                  <a:cxn ang="0">
                    <a:pos x="431" y="44"/>
                  </a:cxn>
                  <a:cxn ang="0">
                    <a:pos x="431" y="53"/>
                  </a:cxn>
                  <a:cxn ang="0">
                    <a:pos x="440" y="53"/>
                  </a:cxn>
                  <a:cxn ang="0">
                    <a:pos x="440" y="62"/>
                  </a:cxn>
                  <a:cxn ang="0">
                    <a:pos x="440" y="62"/>
                  </a:cxn>
                  <a:cxn ang="0">
                    <a:pos x="449" y="71"/>
                  </a:cxn>
                  <a:cxn ang="0">
                    <a:pos x="458" y="80"/>
                  </a:cxn>
                  <a:cxn ang="0">
                    <a:pos x="458" y="80"/>
                  </a:cxn>
                  <a:cxn ang="0">
                    <a:pos x="466" y="248"/>
                  </a:cxn>
                  <a:cxn ang="0">
                    <a:pos x="387" y="248"/>
                  </a:cxn>
                  <a:cxn ang="0">
                    <a:pos x="247" y="248"/>
                  </a:cxn>
                  <a:cxn ang="0">
                    <a:pos x="106" y="248"/>
                  </a:cxn>
                  <a:cxn ang="0">
                    <a:pos x="0" y="239"/>
                  </a:cxn>
                </a:cxnLst>
                <a:rect l="0" t="0" r="r" b="b"/>
                <a:pathLst>
                  <a:path w="466" h="248">
                    <a:moveTo>
                      <a:pt x="0" y="239"/>
                    </a:moveTo>
                    <a:lnTo>
                      <a:pt x="18" y="0"/>
                    </a:lnTo>
                    <a:lnTo>
                      <a:pt x="88" y="9"/>
                    </a:lnTo>
                    <a:lnTo>
                      <a:pt x="238" y="9"/>
                    </a:lnTo>
                    <a:lnTo>
                      <a:pt x="317" y="9"/>
                    </a:lnTo>
                    <a:lnTo>
                      <a:pt x="414" y="9"/>
                    </a:lnTo>
                    <a:lnTo>
                      <a:pt x="431" y="18"/>
                    </a:lnTo>
                    <a:lnTo>
                      <a:pt x="431" y="18"/>
                    </a:lnTo>
                    <a:lnTo>
                      <a:pt x="440" y="18"/>
                    </a:lnTo>
                    <a:lnTo>
                      <a:pt x="440" y="27"/>
                    </a:lnTo>
                    <a:lnTo>
                      <a:pt x="440" y="27"/>
                    </a:lnTo>
                    <a:lnTo>
                      <a:pt x="440" y="36"/>
                    </a:lnTo>
                    <a:lnTo>
                      <a:pt x="440" y="27"/>
                    </a:lnTo>
                    <a:lnTo>
                      <a:pt x="440" y="36"/>
                    </a:lnTo>
                    <a:lnTo>
                      <a:pt x="431" y="44"/>
                    </a:lnTo>
                    <a:lnTo>
                      <a:pt x="431" y="53"/>
                    </a:lnTo>
                    <a:lnTo>
                      <a:pt x="440" y="53"/>
                    </a:lnTo>
                    <a:lnTo>
                      <a:pt x="440" y="62"/>
                    </a:lnTo>
                    <a:lnTo>
                      <a:pt x="440" y="62"/>
                    </a:lnTo>
                    <a:lnTo>
                      <a:pt x="449" y="71"/>
                    </a:lnTo>
                    <a:lnTo>
                      <a:pt x="458" y="80"/>
                    </a:lnTo>
                    <a:lnTo>
                      <a:pt x="458" y="80"/>
                    </a:lnTo>
                    <a:lnTo>
                      <a:pt x="466" y="248"/>
                    </a:lnTo>
                    <a:lnTo>
                      <a:pt x="387" y="248"/>
                    </a:lnTo>
                    <a:lnTo>
                      <a:pt x="247" y="248"/>
                    </a:lnTo>
                    <a:lnTo>
                      <a:pt x="106" y="248"/>
                    </a:lnTo>
                    <a:lnTo>
                      <a:pt x="0" y="239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93" name="Freeform 137"/>
              <p:cNvSpPr>
                <a:spLocks/>
              </p:cNvSpPr>
              <p:nvPr/>
            </p:nvSpPr>
            <p:spPr bwMode="auto">
              <a:xfrm>
                <a:off x="3703590" y="2495978"/>
                <a:ext cx="260277" cy="450788"/>
              </a:xfrm>
              <a:custGeom>
                <a:avLst/>
                <a:gdLst/>
                <a:ahLst/>
                <a:cxnLst>
                  <a:cxn ang="0">
                    <a:pos x="0" y="336"/>
                  </a:cxn>
                  <a:cxn ang="0">
                    <a:pos x="0" y="319"/>
                  </a:cxn>
                  <a:cxn ang="0">
                    <a:pos x="9" y="310"/>
                  </a:cxn>
                  <a:cxn ang="0">
                    <a:pos x="9" y="301"/>
                  </a:cxn>
                  <a:cxn ang="0">
                    <a:pos x="18" y="292"/>
                  </a:cxn>
                  <a:cxn ang="0">
                    <a:pos x="18" y="275"/>
                  </a:cxn>
                  <a:cxn ang="0">
                    <a:pos x="27" y="266"/>
                  </a:cxn>
                  <a:cxn ang="0">
                    <a:pos x="27" y="248"/>
                  </a:cxn>
                  <a:cxn ang="0">
                    <a:pos x="27" y="239"/>
                  </a:cxn>
                  <a:cxn ang="0">
                    <a:pos x="18" y="230"/>
                  </a:cxn>
                  <a:cxn ang="0">
                    <a:pos x="18" y="213"/>
                  </a:cxn>
                  <a:cxn ang="0">
                    <a:pos x="9" y="27"/>
                  </a:cxn>
                  <a:cxn ang="0">
                    <a:pos x="9" y="27"/>
                  </a:cxn>
                  <a:cxn ang="0">
                    <a:pos x="27" y="27"/>
                  </a:cxn>
                  <a:cxn ang="0">
                    <a:pos x="44" y="18"/>
                  </a:cxn>
                  <a:cxn ang="0">
                    <a:pos x="80" y="9"/>
                  </a:cxn>
                  <a:cxn ang="0">
                    <a:pos x="168" y="9"/>
                  </a:cxn>
                  <a:cxn ang="0">
                    <a:pos x="185" y="213"/>
                  </a:cxn>
                  <a:cxn ang="0">
                    <a:pos x="194" y="221"/>
                  </a:cxn>
                  <a:cxn ang="0">
                    <a:pos x="194" y="230"/>
                  </a:cxn>
                  <a:cxn ang="0">
                    <a:pos x="185" y="239"/>
                  </a:cxn>
                  <a:cxn ang="0">
                    <a:pos x="168" y="248"/>
                  </a:cxn>
                  <a:cxn ang="0">
                    <a:pos x="159" y="248"/>
                  </a:cxn>
                  <a:cxn ang="0">
                    <a:pos x="159" y="257"/>
                  </a:cxn>
                  <a:cxn ang="0">
                    <a:pos x="150" y="266"/>
                  </a:cxn>
                  <a:cxn ang="0">
                    <a:pos x="150" y="283"/>
                  </a:cxn>
                  <a:cxn ang="0">
                    <a:pos x="132" y="283"/>
                  </a:cxn>
                  <a:cxn ang="0">
                    <a:pos x="132" y="301"/>
                  </a:cxn>
                  <a:cxn ang="0">
                    <a:pos x="124" y="310"/>
                  </a:cxn>
                  <a:cxn ang="0">
                    <a:pos x="115" y="310"/>
                  </a:cxn>
                  <a:cxn ang="0">
                    <a:pos x="106" y="292"/>
                  </a:cxn>
                  <a:cxn ang="0">
                    <a:pos x="97" y="301"/>
                  </a:cxn>
                  <a:cxn ang="0">
                    <a:pos x="97" y="319"/>
                  </a:cxn>
                  <a:cxn ang="0">
                    <a:pos x="88" y="328"/>
                  </a:cxn>
                  <a:cxn ang="0">
                    <a:pos x="80" y="319"/>
                  </a:cxn>
                  <a:cxn ang="0">
                    <a:pos x="71" y="319"/>
                  </a:cxn>
                  <a:cxn ang="0">
                    <a:pos x="62" y="328"/>
                  </a:cxn>
                  <a:cxn ang="0">
                    <a:pos x="62" y="336"/>
                  </a:cxn>
                  <a:cxn ang="0">
                    <a:pos x="44" y="319"/>
                  </a:cxn>
                  <a:cxn ang="0">
                    <a:pos x="27" y="328"/>
                  </a:cxn>
                  <a:cxn ang="0">
                    <a:pos x="27" y="336"/>
                  </a:cxn>
                  <a:cxn ang="0">
                    <a:pos x="18" y="328"/>
                  </a:cxn>
                  <a:cxn ang="0">
                    <a:pos x="9" y="336"/>
                  </a:cxn>
                  <a:cxn ang="0">
                    <a:pos x="9" y="336"/>
                  </a:cxn>
                </a:cxnLst>
                <a:rect l="0" t="0" r="r" b="b"/>
                <a:pathLst>
                  <a:path w="194" h="336">
                    <a:moveTo>
                      <a:pt x="9" y="336"/>
                    </a:moveTo>
                    <a:lnTo>
                      <a:pt x="0" y="336"/>
                    </a:lnTo>
                    <a:lnTo>
                      <a:pt x="0" y="328"/>
                    </a:lnTo>
                    <a:lnTo>
                      <a:pt x="0" y="319"/>
                    </a:lnTo>
                    <a:lnTo>
                      <a:pt x="9" y="319"/>
                    </a:lnTo>
                    <a:lnTo>
                      <a:pt x="9" y="310"/>
                    </a:lnTo>
                    <a:lnTo>
                      <a:pt x="9" y="310"/>
                    </a:lnTo>
                    <a:lnTo>
                      <a:pt x="9" y="301"/>
                    </a:lnTo>
                    <a:lnTo>
                      <a:pt x="9" y="292"/>
                    </a:lnTo>
                    <a:lnTo>
                      <a:pt x="18" y="292"/>
                    </a:lnTo>
                    <a:lnTo>
                      <a:pt x="18" y="283"/>
                    </a:lnTo>
                    <a:lnTo>
                      <a:pt x="18" y="275"/>
                    </a:lnTo>
                    <a:lnTo>
                      <a:pt x="27" y="266"/>
                    </a:lnTo>
                    <a:lnTo>
                      <a:pt x="27" y="266"/>
                    </a:lnTo>
                    <a:lnTo>
                      <a:pt x="27" y="257"/>
                    </a:lnTo>
                    <a:lnTo>
                      <a:pt x="27" y="248"/>
                    </a:lnTo>
                    <a:lnTo>
                      <a:pt x="27" y="248"/>
                    </a:lnTo>
                    <a:lnTo>
                      <a:pt x="27" y="239"/>
                    </a:lnTo>
                    <a:lnTo>
                      <a:pt x="18" y="230"/>
                    </a:lnTo>
                    <a:lnTo>
                      <a:pt x="18" y="230"/>
                    </a:lnTo>
                    <a:lnTo>
                      <a:pt x="18" y="221"/>
                    </a:lnTo>
                    <a:lnTo>
                      <a:pt x="18" y="213"/>
                    </a:lnTo>
                    <a:lnTo>
                      <a:pt x="27" y="213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18" y="27"/>
                    </a:lnTo>
                    <a:lnTo>
                      <a:pt x="27" y="27"/>
                    </a:lnTo>
                    <a:lnTo>
                      <a:pt x="36" y="27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80" y="9"/>
                    </a:lnTo>
                    <a:lnTo>
                      <a:pt x="159" y="0"/>
                    </a:lnTo>
                    <a:lnTo>
                      <a:pt x="168" y="9"/>
                    </a:lnTo>
                    <a:lnTo>
                      <a:pt x="176" y="80"/>
                    </a:lnTo>
                    <a:lnTo>
                      <a:pt x="185" y="213"/>
                    </a:lnTo>
                    <a:lnTo>
                      <a:pt x="185" y="213"/>
                    </a:lnTo>
                    <a:lnTo>
                      <a:pt x="194" y="221"/>
                    </a:lnTo>
                    <a:lnTo>
                      <a:pt x="185" y="230"/>
                    </a:lnTo>
                    <a:lnTo>
                      <a:pt x="194" y="230"/>
                    </a:lnTo>
                    <a:lnTo>
                      <a:pt x="194" y="239"/>
                    </a:lnTo>
                    <a:lnTo>
                      <a:pt x="185" y="239"/>
                    </a:lnTo>
                    <a:lnTo>
                      <a:pt x="168" y="248"/>
                    </a:lnTo>
                    <a:lnTo>
                      <a:pt x="168" y="248"/>
                    </a:lnTo>
                    <a:lnTo>
                      <a:pt x="159" y="248"/>
                    </a:lnTo>
                    <a:lnTo>
                      <a:pt x="159" y="248"/>
                    </a:lnTo>
                    <a:lnTo>
                      <a:pt x="159" y="248"/>
                    </a:lnTo>
                    <a:lnTo>
                      <a:pt x="159" y="257"/>
                    </a:lnTo>
                    <a:lnTo>
                      <a:pt x="159" y="266"/>
                    </a:lnTo>
                    <a:lnTo>
                      <a:pt x="150" y="266"/>
                    </a:lnTo>
                    <a:lnTo>
                      <a:pt x="150" y="275"/>
                    </a:lnTo>
                    <a:lnTo>
                      <a:pt x="150" y="283"/>
                    </a:lnTo>
                    <a:lnTo>
                      <a:pt x="141" y="283"/>
                    </a:lnTo>
                    <a:lnTo>
                      <a:pt x="132" y="283"/>
                    </a:lnTo>
                    <a:lnTo>
                      <a:pt x="132" y="292"/>
                    </a:lnTo>
                    <a:lnTo>
                      <a:pt x="132" y="301"/>
                    </a:lnTo>
                    <a:lnTo>
                      <a:pt x="132" y="310"/>
                    </a:lnTo>
                    <a:lnTo>
                      <a:pt x="124" y="310"/>
                    </a:lnTo>
                    <a:lnTo>
                      <a:pt x="115" y="310"/>
                    </a:lnTo>
                    <a:lnTo>
                      <a:pt x="115" y="310"/>
                    </a:lnTo>
                    <a:lnTo>
                      <a:pt x="106" y="301"/>
                    </a:lnTo>
                    <a:lnTo>
                      <a:pt x="106" y="292"/>
                    </a:lnTo>
                    <a:lnTo>
                      <a:pt x="106" y="301"/>
                    </a:lnTo>
                    <a:lnTo>
                      <a:pt x="97" y="301"/>
                    </a:lnTo>
                    <a:lnTo>
                      <a:pt x="97" y="310"/>
                    </a:lnTo>
                    <a:lnTo>
                      <a:pt x="97" y="319"/>
                    </a:lnTo>
                    <a:lnTo>
                      <a:pt x="97" y="319"/>
                    </a:lnTo>
                    <a:lnTo>
                      <a:pt x="88" y="328"/>
                    </a:lnTo>
                    <a:lnTo>
                      <a:pt x="88" y="319"/>
                    </a:lnTo>
                    <a:lnTo>
                      <a:pt x="80" y="319"/>
                    </a:lnTo>
                    <a:lnTo>
                      <a:pt x="80" y="319"/>
                    </a:lnTo>
                    <a:lnTo>
                      <a:pt x="71" y="319"/>
                    </a:lnTo>
                    <a:lnTo>
                      <a:pt x="71" y="319"/>
                    </a:lnTo>
                    <a:lnTo>
                      <a:pt x="62" y="328"/>
                    </a:lnTo>
                    <a:lnTo>
                      <a:pt x="62" y="328"/>
                    </a:lnTo>
                    <a:lnTo>
                      <a:pt x="62" y="336"/>
                    </a:lnTo>
                    <a:lnTo>
                      <a:pt x="62" y="328"/>
                    </a:lnTo>
                    <a:lnTo>
                      <a:pt x="44" y="319"/>
                    </a:lnTo>
                    <a:lnTo>
                      <a:pt x="36" y="328"/>
                    </a:lnTo>
                    <a:lnTo>
                      <a:pt x="27" y="328"/>
                    </a:lnTo>
                    <a:lnTo>
                      <a:pt x="36" y="328"/>
                    </a:lnTo>
                    <a:lnTo>
                      <a:pt x="27" y="336"/>
                    </a:lnTo>
                    <a:lnTo>
                      <a:pt x="27" y="328"/>
                    </a:lnTo>
                    <a:lnTo>
                      <a:pt x="18" y="328"/>
                    </a:lnTo>
                    <a:lnTo>
                      <a:pt x="9" y="328"/>
                    </a:lnTo>
                    <a:lnTo>
                      <a:pt x="9" y="336"/>
                    </a:lnTo>
                    <a:lnTo>
                      <a:pt x="9" y="336"/>
                    </a:lnTo>
                    <a:lnTo>
                      <a:pt x="9" y="336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94" name="Freeform 139"/>
              <p:cNvSpPr>
                <a:spLocks/>
              </p:cNvSpPr>
              <p:nvPr/>
            </p:nvSpPr>
            <p:spPr bwMode="auto">
              <a:xfrm>
                <a:off x="3408431" y="2449020"/>
                <a:ext cx="331383" cy="593001"/>
              </a:xfrm>
              <a:custGeom>
                <a:avLst/>
                <a:gdLst/>
                <a:ahLst/>
                <a:cxnLst>
                  <a:cxn ang="0">
                    <a:pos x="9" y="177"/>
                  </a:cxn>
                  <a:cxn ang="0">
                    <a:pos x="18" y="159"/>
                  </a:cxn>
                  <a:cxn ang="0">
                    <a:pos x="27" y="142"/>
                  </a:cxn>
                  <a:cxn ang="0">
                    <a:pos x="18" y="115"/>
                  </a:cxn>
                  <a:cxn ang="0">
                    <a:pos x="44" y="97"/>
                  </a:cxn>
                  <a:cxn ang="0">
                    <a:pos x="62" y="80"/>
                  </a:cxn>
                  <a:cxn ang="0">
                    <a:pos x="71" y="44"/>
                  </a:cxn>
                  <a:cxn ang="0">
                    <a:pos x="62" y="35"/>
                  </a:cxn>
                  <a:cxn ang="0">
                    <a:pos x="44" y="18"/>
                  </a:cxn>
                  <a:cxn ang="0">
                    <a:pos x="132" y="9"/>
                  </a:cxn>
                  <a:cxn ang="0">
                    <a:pos x="203" y="0"/>
                  </a:cxn>
                  <a:cxn ang="0">
                    <a:pos x="212" y="27"/>
                  </a:cxn>
                  <a:cxn ang="0">
                    <a:pos x="220" y="44"/>
                  </a:cxn>
                  <a:cxn ang="0">
                    <a:pos x="229" y="62"/>
                  </a:cxn>
                  <a:cxn ang="0">
                    <a:pos x="238" y="256"/>
                  </a:cxn>
                  <a:cxn ang="0">
                    <a:pos x="247" y="274"/>
                  </a:cxn>
                  <a:cxn ang="0">
                    <a:pos x="247" y="292"/>
                  </a:cxn>
                  <a:cxn ang="0">
                    <a:pos x="238" y="310"/>
                  </a:cxn>
                  <a:cxn ang="0">
                    <a:pos x="229" y="327"/>
                  </a:cxn>
                  <a:cxn ang="0">
                    <a:pos x="229" y="345"/>
                  </a:cxn>
                  <a:cxn ang="0">
                    <a:pos x="220" y="363"/>
                  </a:cxn>
                  <a:cxn ang="0">
                    <a:pos x="229" y="371"/>
                  </a:cxn>
                  <a:cxn ang="0">
                    <a:pos x="220" y="389"/>
                  </a:cxn>
                  <a:cxn ang="0">
                    <a:pos x="212" y="407"/>
                  </a:cxn>
                  <a:cxn ang="0">
                    <a:pos x="203" y="416"/>
                  </a:cxn>
                  <a:cxn ang="0">
                    <a:pos x="203" y="424"/>
                  </a:cxn>
                  <a:cxn ang="0">
                    <a:pos x="194" y="433"/>
                  </a:cxn>
                  <a:cxn ang="0">
                    <a:pos x="176" y="424"/>
                  </a:cxn>
                  <a:cxn ang="0">
                    <a:pos x="159" y="442"/>
                  </a:cxn>
                  <a:cxn ang="0">
                    <a:pos x="150" y="442"/>
                  </a:cxn>
                  <a:cxn ang="0">
                    <a:pos x="141" y="416"/>
                  </a:cxn>
                  <a:cxn ang="0">
                    <a:pos x="132" y="389"/>
                  </a:cxn>
                  <a:cxn ang="0">
                    <a:pos x="124" y="380"/>
                  </a:cxn>
                  <a:cxn ang="0">
                    <a:pos x="106" y="371"/>
                  </a:cxn>
                  <a:cxn ang="0">
                    <a:pos x="80" y="354"/>
                  </a:cxn>
                  <a:cxn ang="0">
                    <a:pos x="80" y="336"/>
                  </a:cxn>
                  <a:cxn ang="0">
                    <a:pos x="88" y="310"/>
                  </a:cxn>
                  <a:cxn ang="0">
                    <a:pos x="80" y="292"/>
                  </a:cxn>
                  <a:cxn ang="0">
                    <a:pos x="71" y="292"/>
                  </a:cxn>
                  <a:cxn ang="0">
                    <a:pos x="53" y="292"/>
                  </a:cxn>
                  <a:cxn ang="0">
                    <a:pos x="44" y="265"/>
                  </a:cxn>
                  <a:cxn ang="0">
                    <a:pos x="27" y="248"/>
                  </a:cxn>
                  <a:cxn ang="0">
                    <a:pos x="9" y="230"/>
                  </a:cxn>
                  <a:cxn ang="0">
                    <a:pos x="0" y="212"/>
                  </a:cxn>
                  <a:cxn ang="0">
                    <a:pos x="0" y="186"/>
                  </a:cxn>
                </a:cxnLst>
                <a:rect l="0" t="0" r="r" b="b"/>
                <a:pathLst>
                  <a:path w="247" h="442">
                    <a:moveTo>
                      <a:pt x="0" y="186"/>
                    </a:moveTo>
                    <a:lnTo>
                      <a:pt x="9" y="177"/>
                    </a:lnTo>
                    <a:lnTo>
                      <a:pt x="9" y="177"/>
                    </a:lnTo>
                    <a:lnTo>
                      <a:pt x="9" y="168"/>
                    </a:lnTo>
                    <a:lnTo>
                      <a:pt x="9" y="168"/>
                    </a:lnTo>
                    <a:lnTo>
                      <a:pt x="18" y="159"/>
                    </a:lnTo>
                    <a:lnTo>
                      <a:pt x="18" y="150"/>
                    </a:lnTo>
                    <a:lnTo>
                      <a:pt x="18" y="150"/>
                    </a:lnTo>
                    <a:lnTo>
                      <a:pt x="27" y="142"/>
                    </a:lnTo>
                    <a:lnTo>
                      <a:pt x="27" y="133"/>
                    </a:lnTo>
                    <a:lnTo>
                      <a:pt x="27" y="124"/>
                    </a:lnTo>
                    <a:lnTo>
                      <a:pt x="18" y="115"/>
                    </a:lnTo>
                    <a:lnTo>
                      <a:pt x="18" y="106"/>
                    </a:lnTo>
                    <a:lnTo>
                      <a:pt x="27" y="97"/>
                    </a:lnTo>
                    <a:lnTo>
                      <a:pt x="44" y="97"/>
                    </a:lnTo>
                    <a:lnTo>
                      <a:pt x="44" y="88"/>
                    </a:lnTo>
                    <a:lnTo>
                      <a:pt x="62" y="88"/>
                    </a:lnTo>
                    <a:lnTo>
                      <a:pt x="62" y="80"/>
                    </a:lnTo>
                    <a:lnTo>
                      <a:pt x="62" y="71"/>
                    </a:lnTo>
                    <a:lnTo>
                      <a:pt x="71" y="62"/>
                    </a:lnTo>
                    <a:lnTo>
                      <a:pt x="71" y="44"/>
                    </a:lnTo>
                    <a:lnTo>
                      <a:pt x="71" y="44"/>
                    </a:lnTo>
                    <a:lnTo>
                      <a:pt x="62" y="35"/>
                    </a:lnTo>
                    <a:lnTo>
                      <a:pt x="62" y="35"/>
                    </a:lnTo>
                    <a:lnTo>
                      <a:pt x="53" y="27"/>
                    </a:lnTo>
                    <a:lnTo>
                      <a:pt x="53" y="27"/>
                    </a:lnTo>
                    <a:lnTo>
                      <a:pt x="44" y="18"/>
                    </a:lnTo>
                    <a:lnTo>
                      <a:pt x="44" y="9"/>
                    </a:lnTo>
                    <a:lnTo>
                      <a:pt x="44" y="9"/>
                    </a:lnTo>
                    <a:lnTo>
                      <a:pt x="132" y="9"/>
                    </a:lnTo>
                    <a:lnTo>
                      <a:pt x="203" y="0"/>
                    </a:lnTo>
                    <a:lnTo>
                      <a:pt x="203" y="0"/>
                    </a:lnTo>
                    <a:lnTo>
                      <a:pt x="203" y="0"/>
                    </a:lnTo>
                    <a:lnTo>
                      <a:pt x="203" y="18"/>
                    </a:lnTo>
                    <a:lnTo>
                      <a:pt x="203" y="18"/>
                    </a:lnTo>
                    <a:lnTo>
                      <a:pt x="212" y="27"/>
                    </a:lnTo>
                    <a:lnTo>
                      <a:pt x="212" y="35"/>
                    </a:lnTo>
                    <a:lnTo>
                      <a:pt x="220" y="44"/>
                    </a:lnTo>
                    <a:lnTo>
                      <a:pt x="220" y="44"/>
                    </a:lnTo>
                    <a:lnTo>
                      <a:pt x="220" y="53"/>
                    </a:lnTo>
                    <a:lnTo>
                      <a:pt x="229" y="62"/>
                    </a:lnTo>
                    <a:lnTo>
                      <a:pt x="229" y="62"/>
                    </a:lnTo>
                    <a:lnTo>
                      <a:pt x="247" y="248"/>
                    </a:lnTo>
                    <a:lnTo>
                      <a:pt x="238" y="248"/>
                    </a:lnTo>
                    <a:lnTo>
                      <a:pt x="238" y="256"/>
                    </a:lnTo>
                    <a:lnTo>
                      <a:pt x="238" y="265"/>
                    </a:lnTo>
                    <a:lnTo>
                      <a:pt x="238" y="265"/>
                    </a:lnTo>
                    <a:lnTo>
                      <a:pt x="247" y="274"/>
                    </a:lnTo>
                    <a:lnTo>
                      <a:pt x="247" y="283"/>
                    </a:lnTo>
                    <a:lnTo>
                      <a:pt x="247" y="283"/>
                    </a:lnTo>
                    <a:lnTo>
                      <a:pt x="247" y="292"/>
                    </a:lnTo>
                    <a:lnTo>
                      <a:pt x="247" y="301"/>
                    </a:lnTo>
                    <a:lnTo>
                      <a:pt x="247" y="301"/>
                    </a:lnTo>
                    <a:lnTo>
                      <a:pt x="238" y="310"/>
                    </a:lnTo>
                    <a:lnTo>
                      <a:pt x="238" y="318"/>
                    </a:lnTo>
                    <a:lnTo>
                      <a:pt x="238" y="327"/>
                    </a:lnTo>
                    <a:lnTo>
                      <a:pt x="229" y="327"/>
                    </a:lnTo>
                    <a:lnTo>
                      <a:pt x="229" y="336"/>
                    </a:lnTo>
                    <a:lnTo>
                      <a:pt x="229" y="345"/>
                    </a:lnTo>
                    <a:lnTo>
                      <a:pt x="229" y="345"/>
                    </a:lnTo>
                    <a:lnTo>
                      <a:pt x="229" y="354"/>
                    </a:lnTo>
                    <a:lnTo>
                      <a:pt x="220" y="354"/>
                    </a:lnTo>
                    <a:lnTo>
                      <a:pt x="220" y="363"/>
                    </a:lnTo>
                    <a:lnTo>
                      <a:pt x="220" y="371"/>
                    </a:lnTo>
                    <a:lnTo>
                      <a:pt x="229" y="371"/>
                    </a:lnTo>
                    <a:lnTo>
                      <a:pt x="229" y="371"/>
                    </a:lnTo>
                    <a:lnTo>
                      <a:pt x="220" y="380"/>
                    </a:lnTo>
                    <a:lnTo>
                      <a:pt x="220" y="380"/>
                    </a:lnTo>
                    <a:lnTo>
                      <a:pt x="220" y="389"/>
                    </a:lnTo>
                    <a:lnTo>
                      <a:pt x="220" y="398"/>
                    </a:lnTo>
                    <a:lnTo>
                      <a:pt x="220" y="398"/>
                    </a:lnTo>
                    <a:lnTo>
                      <a:pt x="212" y="407"/>
                    </a:lnTo>
                    <a:lnTo>
                      <a:pt x="203" y="407"/>
                    </a:lnTo>
                    <a:lnTo>
                      <a:pt x="203" y="407"/>
                    </a:lnTo>
                    <a:lnTo>
                      <a:pt x="203" y="416"/>
                    </a:lnTo>
                    <a:lnTo>
                      <a:pt x="203" y="416"/>
                    </a:lnTo>
                    <a:lnTo>
                      <a:pt x="203" y="424"/>
                    </a:lnTo>
                    <a:lnTo>
                      <a:pt x="203" y="424"/>
                    </a:lnTo>
                    <a:lnTo>
                      <a:pt x="203" y="433"/>
                    </a:lnTo>
                    <a:lnTo>
                      <a:pt x="194" y="433"/>
                    </a:lnTo>
                    <a:lnTo>
                      <a:pt x="194" y="433"/>
                    </a:lnTo>
                    <a:lnTo>
                      <a:pt x="185" y="424"/>
                    </a:lnTo>
                    <a:lnTo>
                      <a:pt x="176" y="424"/>
                    </a:lnTo>
                    <a:lnTo>
                      <a:pt x="176" y="424"/>
                    </a:lnTo>
                    <a:lnTo>
                      <a:pt x="168" y="424"/>
                    </a:lnTo>
                    <a:lnTo>
                      <a:pt x="159" y="433"/>
                    </a:lnTo>
                    <a:lnTo>
                      <a:pt x="159" y="442"/>
                    </a:lnTo>
                    <a:lnTo>
                      <a:pt x="168" y="442"/>
                    </a:lnTo>
                    <a:lnTo>
                      <a:pt x="159" y="442"/>
                    </a:lnTo>
                    <a:lnTo>
                      <a:pt x="150" y="442"/>
                    </a:lnTo>
                    <a:lnTo>
                      <a:pt x="141" y="433"/>
                    </a:lnTo>
                    <a:lnTo>
                      <a:pt x="141" y="424"/>
                    </a:lnTo>
                    <a:lnTo>
                      <a:pt x="141" y="416"/>
                    </a:lnTo>
                    <a:lnTo>
                      <a:pt x="141" y="416"/>
                    </a:lnTo>
                    <a:lnTo>
                      <a:pt x="132" y="398"/>
                    </a:lnTo>
                    <a:lnTo>
                      <a:pt x="132" y="389"/>
                    </a:lnTo>
                    <a:lnTo>
                      <a:pt x="132" y="389"/>
                    </a:lnTo>
                    <a:lnTo>
                      <a:pt x="124" y="389"/>
                    </a:lnTo>
                    <a:lnTo>
                      <a:pt x="124" y="380"/>
                    </a:lnTo>
                    <a:lnTo>
                      <a:pt x="115" y="371"/>
                    </a:lnTo>
                    <a:lnTo>
                      <a:pt x="106" y="380"/>
                    </a:lnTo>
                    <a:lnTo>
                      <a:pt x="106" y="371"/>
                    </a:lnTo>
                    <a:lnTo>
                      <a:pt x="106" y="371"/>
                    </a:lnTo>
                    <a:lnTo>
                      <a:pt x="88" y="363"/>
                    </a:lnTo>
                    <a:lnTo>
                      <a:pt x="80" y="354"/>
                    </a:lnTo>
                    <a:lnTo>
                      <a:pt x="80" y="345"/>
                    </a:lnTo>
                    <a:lnTo>
                      <a:pt x="80" y="336"/>
                    </a:lnTo>
                    <a:lnTo>
                      <a:pt x="80" y="336"/>
                    </a:lnTo>
                    <a:lnTo>
                      <a:pt x="88" y="327"/>
                    </a:lnTo>
                    <a:lnTo>
                      <a:pt x="88" y="318"/>
                    </a:lnTo>
                    <a:lnTo>
                      <a:pt x="88" y="310"/>
                    </a:lnTo>
                    <a:lnTo>
                      <a:pt x="88" y="301"/>
                    </a:lnTo>
                    <a:lnTo>
                      <a:pt x="88" y="301"/>
                    </a:lnTo>
                    <a:lnTo>
                      <a:pt x="80" y="292"/>
                    </a:lnTo>
                    <a:lnTo>
                      <a:pt x="80" y="292"/>
                    </a:lnTo>
                    <a:lnTo>
                      <a:pt x="71" y="292"/>
                    </a:lnTo>
                    <a:lnTo>
                      <a:pt x="71" y="292"/>
                    </a:lnTo>
                    <a:lnTo>
                      <a:pt x="62" y="301"/>
                    </a:lnTo>
                    <a:lnTo>
                      <a:pt x="62" y="301"/>
                    </a:lnTo>
                    <a:lnTo>
                      <a:pt x="53" y="292"/>
                    </a:lnTo>
                    <a:lnTo>
                      <a:pt x="53" y="274"/>
                    </a:lnTo>
                    <a:lnTo>
                      <a:pt x="44" y="265"/>
                    </a:lnTo>
                    <a:lnTo>
                      <a:pt x="44" y="265"/>
                    </a:lnTo>
                    <a:lnTo>
                      <a:pt x="27" y="256"/>
                    </a:lnTo>
                    <a:lnTo>
                      <a:pt x="27" y="248"/>
                    </a:lnTo>
                    <a:lnTo>
                      <a:pt x="27" y="248"/>
                    </a:lnTo>
                    <a:lnTo>
                      <a:pt x="18" y="239"/>
                    </a:lnTo>
                    <a:lnTo>
                      <a:pt x="9" y="239"/>
                    </a:lnTo>
                    <a:lnTo>
                      <a:pt x="9" y="230"/>
                    </a:lnTo>
                    <a:lnTo>
                      <a:pt x="9" y="230"/>
                    </a:lnTo>
                    <a:lnTo>
                      <a:pt x="9" y="212"/>
                    </a:lnTo>
                    <a:lnTo>
                      <a:pt x="0" y="212"/>
                    </a:lnTo>
                    <a:lnTo>
                      <a:pt x="0" y="203"/>
                    </a:lnTo>
                    <a:lnTo>
                      <a:pt x="0" y="195"/>
                    </a:lnTo>
                    <a:lnTo>
                      <a:pt x="0" y="186"/>
                    </a:lnTo>
                    <a:lnTo>
                      <a:pt x="0" y="186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95" name="Freeform 140"/>
              <p:cNvSpPr>
                <a:spLocks/>
              </p:cNvSpPr>
              <p:nvPr/>
            </p:nvSpPr>
            <p:spPr bwMode="auto">
              <a:xfrm>
                <a:off x="3408431" y="2449020"/>
                <a:ext cx="331383" cy="593001"/>
              </a:xfrm>
              <a:custGeom>
                <a:avLst/>
                <a:gdLst/>
                <a:ahLst/>
                <a:cxnLst>
                  <a:cxn ang="0">
                    <a:pos x="9" y="177"/>
                  </a:cxn>
                  <a:cxn ang="0">
                    <a:pos x="18" y="159"/>
                  </a:cxn>
                  <a:cxn ang="0">
                    <a:pos x="27" y="142"/>
                  </a:cxn>
                  <a:cxn ang="0">
                    <a:pos x="18" y="115"/>
                  </a:cxn>
                  <a:cxn ang="0">
                    <a:pos x="44" y="97"/>
                  </a:cxn>
                  <a:cxn ang="0">
                    <a:pos x="62" y="80"/>
                  </a:cxn>
                  <a:cxn ang="0">
                    <a:pos x="71" y="44"/>
                  </a:cxn>
                  <a:cxn ang="0">
                    <a:pos x="62" y="35"/>
                  </a:cxn>
                  <a:cxn ang="0">
                    <a:pos x="44" y="18"/>
                  </a:cxn>
                  <a:cxn ang="0">
                    <a:pos x="132" y="9"/>
                  </a:cxn>
                  <a:cxn ang="0">
                    <a:pos x="203" y="0"/>
                  </a:cxn>
                  <a:cxn ang="0">
                    <a:pos x="212" y="27"/>
                  </a:cxn>
                  <a:cxn ang="0">
                    <a:pos x="220" y="44"/>
                  </a:cxn>
                  <a:cxn ang="0">
                    <a:pos x="229" y="62"/>
                  </a:cxn>
                  <a:cxn ang="0">
                    <a:pos x="238" y="256"/>
                  </a:cxn>
                  <a:cxn ang="0">
                    <a:pos x="247" y="274"/>
                  </a:cxn>
                  <a:cxn ang="0">
                    <a:pos x="247" y="292"/>
                  </a:cxn>
                  <a:cxn ang="0">
                    <a:pos x="238" y="310"/>
                  </a:cxn>
                  <a:cxn ang="0">
                    <a:pos x="229" y="327"/>
                  </a:cxn>
                  <a:cxn ang="0">
                    <a:pos x="229" y="345"/>
                  </a:cxn>
                  <a:cxn ang="0">
                    <a:pos x="220" y="363"/>
                  </a:cxn>
                  <a:cxn ang="0">
                    <a:pos x="229" y="371"/>
                  </a:cxn>
                  <a:cxn ang="0">
                    <a:pos x="220" y="389"/>
                  </a:cxn>
                  <a:cxn ang="0">
                    <a:pos x="212" y="407"/>
                  </a:cxn>
                  <a:cxn ang="0">
                    <a:pos x="203" y="416"/>
                  </a:cxn>
                  <a:cxn ang="0">
                    <a:pos x="203" y="424"/>
                  </a:cxn>
                  <a:cxn ang="0">
                    <a:pos x="194" y="433"/>
                  </a:cxn>
                  <a:cxn ang="0">
                    <a:pos x="176" y="424"/>
                  </a:cxn>
                  <a:cxn ang="0">
                    <a:pos x="159" y="442"/>
                  </a:cxn>
                  <a:cxn ang="0">
                    <a:pos x="150" y="442"/>
                  </a:cxn>
                  <a:cxn ang="0">
                    <a:pos x="141" y="416"/>
                  </a:cxn>
                  <a:cxn ang="0">
                    <a:pos x="132" y="389"/>
                  </a:cxn>
                  <a:cxn ang="0">
                    <a:pos x="124" y="380"/>
                  </a:cxn>
                  <a:cxn ang="0">
                    <a:pos x="106" y="371"/>
                  </a:cxn>
                  <a:cxn ang="0">
                    <a:pos x="80" y="354"/>
                  </a:cxn>
                  <a:cxn ang="0">
                    <a:pos x="80" y="336"/>
                  </a:cxn>
                  <a:cxn ang="0">
                    <a:pos x="88" y="310"/>
                  </a:cxn>
                  <a:cxn ang="0">
                    <a:pos x="80" y="292"/>
                  </a:cxn>
                  <a:cxn ang="0">
                    <a:pos x="71" y="292"/>
                  </a:cxn>
                  <a:cxn ang="0">
                    <a:pos x="53" y="292"/>
                  </a:cxn>
                  <a:cxn ang="0">
                    <a:pos x="44" y="265"/>
                  </a:cxn>
                  <a:cxn ang="0">
                    <a:pos x="27" y="248"/>
                  </a:cxn>
                  <a:cxn ang="0">
                    <a:pos x="9" y="230"/>
                  </a:cxn>
                  <a:cxn ang="0">
                    <a:pos x="0" y="212"/>
                  </a:cxn>
                  <a:cxn ang="0">
                    <a:pos x="0" y="186"/>
                  </a:cxn>
                </a:cxnLst>
                <a:rect l="0" t="0" r="r" b="b"/>
                <a:pathLst>
                  <a:path w="247" h="442">
                    <a:moveTo>
                      <a:pt x="0" y="186"/>
                    </a:moveTo>
                    <a:lnTo>
                      <a:pt x="9" y="177"/>
                    </a:lnTo>
                    <a:lnTo>
                      <a:pt x="9" y="177"/>
                    </a:lnTo>
                    <a:lnTo>
                      <a:pt x="9" y="168"/>
                    </a:lnTo>
                    <a:lnTo>
                      <a:pt x="9" y="168"/>
                    </a:lnTo>
                    <a:lnTo>
                      <a:pt x="18" y="159"/>
                    </a:lnTo>
                    <a:lnTo>
                      <a:pt x="18" y="150"/>
                    </a:lnTo>
                    <a:lnTo>
                      <a:pt x="18" y="150"/>
                    </a:lnTo>
                    <a:lnTo>
                      <a:pt x="27" y="142"/>
                    </a:lnTo>
                    <a:lnTo>
                      <a:pt x="27" y="133"/>
                    </a:lnTo>
                    <a:lnTo>
                      <a:pt x="27" y="124"/>
                    </a:lnTo>
                    <a:lnTo>
                      <a:pt x="18" y="115"/>
                    </a:lnTo>
                    <a:lnTo>
                      <a:pt x="18" y="106"/>
                    </a:lnTo>
                    <a:lnTo>
                      <a:pt x="27" y="97"/>
                    </a:lnTo>
                    <a:lnTo>
                      <a:pt x="44" y="97"/>
                    </a:lnTo>
                    <a:lnTo>
                      <a:pt x="44" y="88"/>
                    </a:lnTo>
                    <a:lnTo>
                      <a:pt x="62" y="88"/>
                    </a:lnTo>
                    <a:lnTo>
                      <a:pt x="62" y="80"/>
                    </a:lnTo>
                    <a:lnTo>
                      <a:pt x="62" y="71"/>
                    </a:lnTo>
                    <a:lnTo>
                      <a:pt x="71" y="62"/>
                    </a:lnTo>
                    <a:lnTo>
                      <a:pt x="71" y="44"/>
                    </a:lnTo>
                    <a:lnTo>
                      <a:pt x="71" y="44"/>
                    </a:lnTo>
                    <a:lnTo>
                      <a:pt x="62" y="35"/>
                    </a:lnTo>
                    <a:lnTo>
                      <a:pt x="62" y="35"/>
                    </a:lnTo>
                    <a:lnTo>
                      <a:pt x="53" y="27"/>
                    </a:lnTo>
                    <a:lnTo>
                      <a:pt x="53" y="27"/>
                    </a:lnTo>
                    <a:lnTo>
                      <a:pt x="44" y="18"/>
                    </a:lnTo>
                    <a:lnTo>
                      <a:pt x="44" y="9"/>
                    </a:lnTo>
                    <a:lnTo>
                      <a:pt x="44" y="9"/>
                    </a:lnTo>
                    <a:lnTo>
                      <a:pt x="132" y="9"/>
                    </a:lnTo>
                    <a:lnTo>
                      <a:pt x="203" y="0"/>
                    </a:lnTo>
                    <a:lnTo>
                      <a:pt x="203" y="0"/>
                    </a:lnTo>
                    <a:lnTo>
                      <a:pt x="203" y="0"/>
                    </a:lnTo>
                    <a:lnTo>
                      <a:pt x="203" y="18"/>
                    </a:lnTo>
                    <a:lnTo>
                      <a:pt x="203" y="18"/>
                    </a:lnTo>
                    <a:lnTo>
                      <a:pt x="212" y="27"/>
                    </a:lnTo>
                    <a:lnTo>
                      <a:pt x="212" y="35"/>
                    </a:lnTo>
                    <a:lnTo>
                      <a:pt x="220" y="44"/>
                    </a:lnTo>
                    <a:lnTo>
                      <a:pt x="220" y="44"/>
                    </a:lnTo>
                    <a:lnTo>
                      <a:pt x="220" y="53"/>
                    </a:lnTo>
                    <a:lnTo>
                      <a:pt x="229" y="62"/>
                    </a:lnTo>
                    <a:lnTo>
                      <a:pt x="229" y="62"/>
                    </a:lnTo>
                    <a:lnTo>
                      <a:pt x="247" y="248"/>
                    </a:lnTo>
                    <a:lnTo>
                      <a:pt x="238" y="248"/>
                    </a:lnTo>
                    <a:lnTo>
                      <a:pt x="238" y="256"/>
                    </a:lnTo>
                    <a:lnTo>
                      <a:pt x="238" y="265"/>
                    </a:lnTo>
                    <a:lnTo>
                      <a:pt x="238" y="265"/>
                    </a:lnTo>
                    <a:lnTo>
                      <a:pt x="247" y="274"/>
                    </a:lnTo>
                    <a:lnTo>
                      <a:pt x="247" y="283"/>
                    </a:lnTo>
                    <a:lnTo>
                      <a:pt x="247" y="283"/>
                    </a:lnTo>
                    <a:lnTo>
                      <a:pt x="247" y="292"/>
                    </a:lnTo>
                    <a:lnTo>
                      <a:pt x="247" y="301"/>
                    </a:lnTo>
                    <a:lnTo>
                      <a:pt x="247" y="301"/>
                    </a:lnTo>
                    <a:lnTo>
                      <a:pt x="238" y="310"/>
                    </a:lnTo>
                    <a:lnTo>
                      <a:pt x="238" y="318"/>
                    </a:lnTo>
                    <a:lnTo>
                      <a:pt x="238" y="327"/>
                    </a:lnTo>
                    <a:lnTo>
                      <a:pt x="229" y="327"/>
                    </a:lnTo>
                    <a:lnTo>
                      <a:pt x="229" y="336"/>
                    </a:lnTo>
                    <a:lnTo>
                      <a:pt x="229" y="345"/>
                    </a:lnTo>
                    <a:lnTo>
                      <a:pt x="229" y="345"/>
                    </a:lnTo>
                    <a:lnTo>
                      <a:pt x="229" y="354"/>
                    </a:lnTo>
                    <a:lnTo>
                      <a:pt x="220" y="354"/>
                    </a:lnTo>
                    <a:lnTo>
                      <a:pt x="220" y="363"/>
                    </a:lnTo>
                    <a:lnTo>
                      <a:pt x="220" y="371"/>
                    </a:lnTo>
                    <a:lnTo>
                      <a:pt x="229" y="371"/>
                    </a:lnTo>
                    <a:lnTo>
                      <a:pt x="229" y="371"/>
                    </a:lnTo>
                    <a:lnTo>
                      <a:pt x="220" y="380"/>
                    </a:lnTo>
                    <a:lnTo>
                      <a:pt x="220" y="380"/>
                    </a:lnTo>
                    <a:lnTo>
                      <a:pt x="220" y="389"/>
                    </a:lnTo>
                    <a:lnTo>
                      <a:pt x="220" y="398"/>
                    </a:lnTo>
                    <a:lnTo>
                      <a:pt x="220" y="398"/>
                    </a:lnTo>
                    <a:lnTo>
                      <a:pt x="212" y="407"/>
                    </a:lnTo>
                    <a:lnTo>
                      <a:pt x="203" y="407"/>
                    </a:lnTo>
                    <a:lnTo>
                      <a:pt x="203" y="407"/>
                    </a:lnTo>
                    <a:lnTo>
                      <a:pt x="203" y="416"/>
                    </a:lnTo>
                    <a:lnTo>
                      <a:pt x="203" y="416"/>
                    </a:lnTo>
                    <a:lnTo>
                      <a:pt x="203" y="424"/>
                    </a:lnTo>
                    <a:lnTo>
                      <a:pt x="203" y="424"/>
                    </a:lnTo>
                    <a:lnTo>
                      <a:pt x="203" y="433"/>
                    </a:lnTo>
                    <a:lnTo>
                      <a:pt x="194" y="433"/>
                    </a:lnTo>
                    <a:lnTo>
                      <a:pt x="194" y="433"/>
                    </a:lnTo>
                    <a:lnTo>
                      <a:pt x="185" y="424"/>
                    </a:lnTo>
                    <a:lnTo>
                      <a:pt x="176" y="424"/>
                    </a:lnTo>
                    <a:lnTo>
                      <a:pt x="176" y="424"/>
                    </a:lnTo>
                    <a:lnTo>
                      <a:pt x="168" y="424"/>
                    </a:lnTo>
                    <a:lnTo>
                      <a:pt x="159" y="433"/>
                    </a:lnTo>
                    <a:lnTo>
                      <a:pt x="159" y="442"/>
                    </a:lnTo>
                    <a:lnTo>
                      <a:pt x="168" y="442"/>
                    </a:lnTo>
                    <a:lnTo>
                      <a:pt x="159" y="442"/>
                    </a:lnTo>
                    <a:lnTo>
                      <a:pt x="150" y="442"/>
                    </a:lnTo>
                    <a:lnTo>
                      <a:pt x="141" y="433"/>
                    </a:lnTo>
                    <a:lnTo>
                      <a:pt x="141" y="424"/>
                    </a:lnTo>
                    <a:lnTo>
                      <a:pt x="141" y="416"/>
                    </a:lnTo>
                    <a:lnTo>
                      <a:pt x="141" y="416"/>
                    </a:lnTo>
                    <a:lnTo>
                      <a:pt x="132" y="398"/>
                    </a:lnTo>
                    <a:lnTo>
                      <a:pt x="132" y="389"/>
                    </a:lnTo>
                    <a:lnTo>
                      <a:pt x="132" y="389"/>
                    </a:lnTo>
                    <a:lnTo>
                      <a:pt x="124" y="389"/>
                    </a:lnTo>
                    <a:lnTo>
                      <a:pt x="124" y="380"/>
                    </a:lnTo>
                    <a:lnTo>
                      <a:pt x="115" y="371"/>
                    </a:lnTo>
                    <a:lnTo>
                      <a:pt x="106" y="380"/>
                    </a:lnTo>
                    <a:lnTo>
                      <a:pt x="106" y="371"/>
                    </a:lnTo>
                    <a:lnTo>
                      <a:pt x="106" y="371"/>
                    </a:lnTo>
                    <a:lnTo>
                      <a:pt x="88" y="363"/>
                    </a:lnTo>
                    <a:lnTo>
                      <a:pt x="80" y="354"/>
                    </a:lnTo>
                    <a:lnTo>
                      <a:pt x="80" y="345"/>
                    </a:lnTo>
                    <a:lnTo>
                      <a:pt x="80" y="336"/>
                    </a:lnTo>
                    <a:lnTo>
                      <a:pt x="80" y="336"/>
                    </a:lnTo>
                    <a:lnTo>
                      <a:pt x="88" y="327"/>
                    </a:lnTo>
                    <a:lnTo>
                      <a:pt x="88" y="318"/>
                    </a:lnTo>
                    <a:lnTo>
                      <a:pt x="88" y="310"/>
                    </a:lnTo>
                    <a:lnTo>
                      <a:pt x="88" y="301"/>
                    </a:lnTo>
                    <a:lnTo>
                      <a:pt x="88" y="301"/>
                    </a:lnTo>
                    <a:lnTo>
                      <a:pt x="80" y="292"/>
                    </a:lnTo>
                    <a:lnTo>
                      <a:pt x="80" y="292"/>
                    </a:lnTo>
                    <a:lnTo>
                      <a:pt x="71" y="292"/>
                    </a:lnTo>
                    <a:lnTo>
                      <a:pt x="71" y="292"/>
                    </a:lnTo>
                    <a:lnTo>
                      <a:pt x="62" y="301"/>
                    </a:lnTo>
                    <a:lnTo>
                      <a:pt x="62" y="301"/>
                    </a:lnTo>
                    <a:lnTo>
                      <a:pt x="53" y="292"/>
                    </a:lnTo>
                    <a:lnTo>
                      <a:pt x="53" y="274"/>
                    </a:lnTo>
                    <a:lnTo>
                      <a:pt x="44" y="265"/>
                    </a:lnTo>
                    <a:lnTo>
                      <a:pt x="44" y="265"/>
                    </a:lnTo>
                    <a:lnTo>
                      <a:pt x="27" y="256"/>
                    </a:lnTo>
                    <a:lnTo>
                      <a:pt x="27" y="248"/>
                    </a:lnTo>
                    <a:lnTo>
                      <a:pt x="27" y="248"/>
                    </a:lnTo>
                    <a:lnTo>
                      <a:pt x="18" y="239"/>
                    </a:lnTo>
                    <a:lnTo>
                      <a:pt x="9" y="239"/>
                    </a:lnTo>
                    <a:lnTo>
                      <a:pt x="9" y="230"/>
                    </a:lnTo>
                    <a:lnTo>
                      <a:pt x="9" y="230"/>
                    </a:lnTo>
                    <a:lnTo>
                      <a:pt x="9" y="212"/>
                    </a:lnTo>
                    <a:lnTo>
                      <a:pt x="0" y="212"/>
                    </a:lnTo>
                    <a:lnTo>
                      <a:pt x="0" y="203"/>
                    </a:lnTo>
                    <a:lnTo>
                      <a:pt x="0" y="195"/>
                    </a:lnTo>
                    <a:lnTo>
                      <a:pt x="0" y="186"/>
                    </a:lnTo>
                    <a:lnTo>
                      <a:pt x="0" y="186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96" name="Freeform 141"/>
              <p:cNvSpPr>
                <a:spLocks/>
              </p:cNvSpPr>
              <p:nvPr/>
            </p:nvSpPr>
            <p:spPr bwMode="auto">
              <a:xfrm>
                <a:off x="1414766" y="1642700"/>
                <a:ext cx="507137" cy="806321"/>
              </a:xfrm>
              <a:custGeom>
                <a:avLst/>
                <a:gdLst/>
                <a:ahLst/>
                <a:cxnLst>
                  <a:cxn ang="0">
                    <a:pos x="35" y="407"/>
                  </a:cxn>
                  <a:cxn ang="0">
                    <a:pos x="35" y="398"/>
                  </a:cxn>
                  <a:cxn ang="0">
                    <a:pos x="44" y="380"/>
                  </a:cxn>
                  <a:cxn ang="0">
                    <a:pos x="44" y="371"/>
                  </a:cxn>
                  <a:cxn ang="0">
                    <a:pos x="35" y="362"/>
                  </a:cxn>
                  <a:cxn ang="0">
                    <a:pos x="35" y="345"/>
                  </a:cxn>
                  <a:cxn ang="0">
                    <a:pos x="44" y="336"/>
                  </a:cxn>
                  <a:cxn ang="0">
                    <a:pos x="61" y="318"/>
                  </a:cxn>
                  <a:cxn ang="0">
                    <a:pos x="61" y="309"/>
                  </a:cxn>
                  <a:cxn ang="0">
                    <a:pos x="79" y="283"/>
                  </a:cxn>
                  <a:cxn ang="0">
                    <a:pos x="96" y="265"/>
                  </a:cxn>
                  <a:cxn ang="0">
                    <a:pos x="79" y="247"/>
                  </a:cxn>
                  <a:cxn ang="0">
                    <a:pos x="79" y="239"/>
                  </a:cxn>
                  <a:cxn ang="0">
                    <a:pos x="70" y="230"/>
                  </a:cxn>
                  <a:cxn ang="0">
                    <a:pos x="70" y="203"/>
                  </a:cxn>
                  <a:cxn ang="0">
                    <a:pos x="79" y="185"/>
                  </a:cxn>
                  <a:cxn ang="0">
                    <a:pos x="114" y="0"/>
                  </a:cxn>
                  <a:cxn ang="0">
                    <a:pos x="167" y="9"/>
                  </a:cxn>
                  <a:cxn ang="0">
                    <a:pos x="149" y="88"/>
                  </a:cxn>
                  <a:cxn ang="0">
                    <a:pos x="158" y="106"/>
                  </a:cxn>
                  <a:cxn ang="0">
                    <a:pos x="167" y="124"/>
                  </a:cxn>
                  <a:cxn ang="0">
                    <a:pos x="167" y="132"/>
                  </a:cxn>
                  <a:cxn ang="0">
                    <a:pos x="167" y="141"/>
                  </a:cxn>
                  <a:cxn ang="0">
                    <a:pos x="175" y="150"/>
                  </a:cxn>
                  <a:cxn ang="0">
                    <a:pos x="184" y="168"/>
                  </a:cxn>
                  <a:cxn ang="0">
                    <a:pos x="193" y="177"/>
                  </a:cxn>
                  <a:cxn ang="0">
                    <a:pos x="193" y="185"/>
                  </a:cxn>
                  <a:cxn ang="0">
                    <a:pos x="202" y="194"/>
                  </a:cxn>
                  <a:cxn ang="0">
                    <a:pos x="211" y="203"/>
                  </a:cxn>
                  <a:cxn ang="0">
                    <a:pos x="211" y="212"/>
                  </a:cxn>
                  <a:cxn ang="0">
                    <a:pos x="219" y="212"/>
                  </a:cxn>
                  <a:cxn ang="0">
                    <a:pos x="211" y="239"/>
                  </a:cxn>
                  <a:cxn ang="0">
                    <a:pos x="211" y="247"/>
                  </a:cxn>
                  <a:cxn ang="0">
                    <a:pos x="202" y="256"/>
                  </a:cxn>
                  <a:cxn ang="0">
                    <a:pos x="211" y="274"/>
                  </a:cxn>
                  <a:cxn ang="0">
                    <a:pos x="202" y="274"/>
                  </a:cxn>
                  <a:cxn ang="0">
                    <a:pos x="193" y="292"/>
                  </a:cxn>
                  <a:cxn ang="0">
                    <a:pos x="202" y="292"/>
                  </a:cxn>
                  <a:cxn ang="0">
                    <a:pos x="211" y="300"/>
                  </a:cxn>
                  <a:cxn ang="0">
                    <a:pos x="228" y="292"/>
                  </a:cxn>
                  <a:cxn ang="0">
                    <a:pos x="237" y="309"/>
                  </a:cxn>
                  <a:cxn ang="0">
                    <a:pos x="246" y="336"/>
                  </a:cxn>
                  <a:cxn ang="0">
                    <a:pos x="246" y="345"/>
                  </a:cxn>
                  <a:cxn ang="0">
                    <a:pos x="246" y="353"/>
                  </a:cxn>
                  <a:cxn ang="0">
                    <a:pos x="255" y="362"/>
                  </a:cxn>
                  <a:cxn ang="0">
                    <a:pos x="263" y="371"/>
                  </a:cxn>
                  <a:cxn ang="0">
                    <a:pos x="263" y="380"/>
                  </a:cxn>
                  <a:cxn ang="0">
                    <a:pos x="263" y="389"/>
                  </a:cxn>
                  <a:cxn ang="0">
                    <a:pos x="272" y="407"/>
                  </a:cxn>
                  <a:cxn ang="0">
                    <a:pos x="272" y="398"/>
                  </a:cxn>
                  <a:cxn ang="0">
                    <a:pos x="290" y="398"/>
                  </a:cxn>
                  <a:cxn ang="0">
                    <a:pos x="299" y="398"/>
                  </a:cxn>
                  <a:cxn ang="0">
                    <a:pos x="307" y="389"/>
                  </a:cxn>
                  <a:cxn ang="0">
                    <a:pos x="334" y="398"/>
                  </a:cxn>
                  <a:cxn ang="0">
                    <a:pos x="343" y="398"/>
                  </a:cxn>
                  <a:cxn ang="0">
                    <a:pos x="351" y="398"/>
                  </a:cxn>
                  <a:cxn ang="0">
                    <a:pos x="360" y="389"/>
                  </a:cxn>
                  <a:cxn ang="0">
                    <a:pos x="369" y="407"/>
                  </a:cxn>
                  <a:cxn ang="0">
                    <a:pos x="343" y="601"/>
                  </a:cxn>
                  <a:cxn ang="0">
                    <a:pos x="193" y="583"/>
                  </a:cxn>
                  <a:cxn ang="0">
                    <a:pos x="96" y="566"/>
                  </a:cxn>
                </a:cxnLst>
                <a:rect l="0" t="0" r="r" b="b"/>
                <a:pathLst>
                  <a:path w="378" h="601">
                    <a:moveTo>
                      <a:pt x="0" y="548"/>
                    </a:moveTo>
                    <a:lnTo>
                      <a:pt x="35" y="407"/>
                    </a:lnTo>
                    <a:lnTo>
                      <a:pt x="35" y="398"/>
                    </a:lnTo>
                    <a:lnTo>
                      <a:pt x="35" y="398"/>
                    </a:lnTo>
                    <a:lnTo>
                      <a:pt x="44" y="389"/>
                    </a:lnTo>
                    <a:lnTo>
                      <a:pt x="44" y="380"/>
                    </a:lnTo>
                    <a:lnTo>
                      <a:pt x="44" y="371"/>
                    </a:lnTo>
                    <a:lnTo>
                      <a:pt x="44" y="371"/>
                    </a:lnTo>
                    <a:lnTo>
                      <a:pt x="35" y="371"/>
                    </a:lnTo>
                    <a:lnTo>
                      <a:pt x="35" y="362"/>
                    </a:lnTo>
                    <a:lnTo>
                      <a:pt x="35" y="362"/>
                    </a:lnTo>
                    <a:lnTo>
                      <a:pt x="35" y="345"/>
                    </a:lnTo>
                    <a:lnTo>
                      <a:pt x="44" y="345"/>
                    </a:lnTo>
                    <a:lnTo>
                      <a:pt x="44" y="336"/>
                    </a:lnTo>
                    <a:lnTo>
                      <a:pt x="52" y="327"/>
                    </a:lnTo>
                    <a:lnTo>
                      <a:pt x="61" y="318"/>
                    </a:lnTo>
                    <a:lnTo>
                      <a:pt x="61" y="318"/>
                    </a:lnTo>
                    <a:lnTo>
                      <a:pt x="61" y="309"/>
                    </a:lnTo>
                    <a:lnTo>
                      <a:pt x="70" y="300"/>
                    </a:lnTo>
                    <a:lnTo>
                      <a:pt x="79" y="283"/>
                    </a:lnTo>
                    <a:lnTo>
                      <a:pt x="87" y="274"/>
                    </a:lnTo>
                    <a:lnTo>
                      <a:pt x="96" y="265"/>
                    </a:lnTo>
                    <a:lnTo>
                      <a:pt x="87" y="256"/>
                    </a:lnTo>
                    <a:lnTo>
                      <a:pt x="79" y="247"/>
                    </a:lnTo>
                    <a:lnTo>
                      <a:pt x="79" y="247"/>
                    </a:lnTo>
                    <a:lnTo>
                      <a:pt x="79" y="239"/>
                    </a:lnTo>
                    <a:lnTo>
                      <a:pt x="79" y="239"/>
                    </a:lnTo>
                    <a:lnTo>
                      <a:pt x="70" y="230"/>
                    </a:lnTo>
                    <a:lnTo>
                      <a:pt x="79" y="212"/>
                    </a:lnTo>
                    <a:lnTo>
                      <a:pt x="70" y="203"/>
                    </a:lnTo>
                    <a:lnTo>
                      <a:pt x="79" y="203"/>
                    </a:lnTo>
                    <a:lnTo>
                      <a:pt x="79" y="185"/>
                    </a:lnTo>
                    <a:lnTo>
                      <a:pt x="114" y="9"/>
                    </a:lnTo>
                    <a:lnTo>
                      <a:pt x="114" y="0"/>
                    </a:lnTo>
                    <a:lnTo>
                      <a:pt x="158" y="9"/>
                    </a:lnTo>
                    <a:lnTo>
                      <a:pt x="167" y="9"/>
                    </a:lnTo>
                    <a:lnTo>
                      <a:pt x="167" y="17"/>
                    </a:lnTo>
                    <a:lnTo>
                      <a:pt x="149" y="88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67" y="115"/>
                    </a:lnTo>
                    <a:lnTo>
                      <a:pt x="167" y="124"/>
                    </a:lnTo>
                    <a:lnTo>
                      <a:pt x="167" y="132"/>
                    </a:lnTo>
                    <a:lnTo>
                      <a:pt x="167" y="132"/>
                    </a:lnTo>
                    <a:lnTo>
                      <a:pt x="158" y="132"/>
                    </a:lnTo>
                    <a:lnTo>
                      <a:pt x="167" y="141"/>
                    </a:lnTo>
                    <a:lnTo>
                      <a:pt x="167" y="150"/>
                    </a:lnTo>
                    <a:lnTo>
                      <a:pt x="175" y="150"/>
                    </a:lnTo>
                    <a:lnTo>
                      <a:pt x="175" y="159"/>
                    </a:lnTo>
                    <a:lnTo>
                      <a:pt x="184" y="168"/>
                    </a:lnTo>
                    <a:lnTo>
                      <a:pt x="184" y="168"/>
                    </a:lnTo>
                    <a:lnTo>
                      <a:pt x="193" y="177"/>
                    </a:lnTo>
                    <a:lnTo>
                      <a:pt x="193" y="185"/>
                    </a:lnTo>
                    <a:lnTo>
                      <a:pt x="193" y="185"/>
                    </a:lnTo>
                    <a:lnTo>
                      <a:pt x="193" y="194"/>
                    </a:lnTo>
                    <a:lnTo>
                      <a:pt x="202" y="194"/>
                    </a:lnTo>
                    <a:lnTo>
                      <a:pt x="202" y="203"/>
                    </a:lnTo>
                    <a:lnTo>
                      <a:pt x="211" y="203"/>
                    </a:lnTo>
                    <a:lnTo>
                      <a:pt x="211" y="203"/>
                    </a:lnTo>
                    <a:lnTo>
                      <a:pt x="211" y="212"/>
                    </a:lnTo>
                    <a:lnTo>
                      <a:pt x="219" y="212"/>
                    </a:lnTo>
                    <a:lnTo>
                      <a:pt x="219" y="212"/>
                    </a:lnTo>
                    <a:lnTo>
                      <a:pt x="219" y="230"/>
                    </a:lnTo>
                    <a:lnTo>
                      <a:pt x="211" y="239"/>
                    </a:lnTo>
                    <a:lnTo>
                      <a:pt x="211" y="239"/>
                    </a:lnTo>
                    <a:lnTo>
                      <a:pt x="211" y="247"/>
                    </a:lnTo>
                    <a:lnTo>
                      <a:pt x="211" y="247"/>
                    </a:lnTo>
                    <a:lnTo>
                      <a:pt x="202" y="256"/>
                    </a:lnTo>
                    <a:lnTo>
                      <a:pt x="211" y="265"/>
                    </a:lnTo>
                    <a:lnTo>
                      <a:pt x="211" y="274"/>
                    </a:lnTo>
                    <a:lnTo>
                      <a:pt x="202" y="274"/>
                    </a:lnTo>
                    <a:lnTo>
                      <a:pt x="202" y="274"/>
                    </a:lnTo>
                    <a:lnTo>
                      <a:pt x="202" y="283"/>
                    </a:lnTo>
                    <a:lnTo>
                      <a:pt x="193" y="292"/>
                    </a:lnTo>
                    <a:lnTo>
                      <a:pt x="193" y="292"/>
                    </a:lnTo>
                    <a:lnTo>
                      <a:pt x="202" y="292"/>
                    </a:lnTo>
                    <a:lnTo>
                      <a:pt x="202" y="300"/>
                    </a:lnTo>
                    <a:lnTo>
                      <a:pt x="211" y="300"/>
                    </a:lnTo>
                    <a:lnTo>
                      <a:pt x="228" y="292"/>
                    </a:lnTo>
                    <a:lnTo>
                      <a:pt x="228" y="292"/>
                    </a:lnTo>
                    <a:lnTo>
                      <a:pt x="237" y="300"/>
                    </a:lnTo>
                    <a:lnTo>
                      <a:pt x="237" y="309"/>
                    </a:lnTo>
                    <a:lnTo>
                      <a:pt x="237" y="327"/>
                    </a:lnTo>
                    <a:lnTo>
                      <a:pt x="246" y="336"/>
                    </a:lnTo>
                    <a:lnTo>
                      <a:pt x="246" y="336"/>
                    </a:lnTo>
                    <a:lnTo>
                      <a:pt x="246" y="345"/>
                    </a:lnTo>
                    <a:lnTo>
                      <a:pt x="246" y="345"/>
                    </a:lnTo>
                    <a:lnTo>
                      <a:pt x="246" y="353"/>
                    </a:lnTo>
                    <a:lnTo>
                      <a:pt x="246" y="362"/>
                    </a:lnTo>
                    <a:lnTo>
                      <a:pt x="255" y="362"/>
                    </a:lnTo>
                    <a:lnTo>
                      <a:pt x="255" y="362"/>
                    </a:lnTo>
                    <a:lnTo>
                      <a:pt x="263" y="371"/>
                    </a:lnTo>
                    <a:lnTo>
                      <a:pt x="263" y="380"/>
                    </a:lnTo>
                    <a:lnTo>
                      <a:pt x="263" y="380"/>
                    </a:lnTo>
                    <a:lnTo>
                      <a:pt x="263" y="389"/>
                    </a:lnTo>
                    <a:lnTo>
                      <a:pt x="263" y="389"/>
                    </a:lnTo>
                    <a:lnTo>
                      <a:pt x="272" y="398"/>
                    </a:lnTo>
                    <a:lnTo>
                      <a:pt x="272" y="407"/>
                    </a:lnTo>
                    <a:lnTo>
                      <a:pt x="272" y="407"/>
                    </a:lnTo>
                    <a:lnTo>
                      <a:pt x="272" y="398"/>
                    </a:lnTo>
                    <a:lnTo>
                      <a:pt x="281" y="398"/>
                    </a:lnTo>
                    <a:lnTo>
                      <a:pt x="290" y="398"/>
                    </a:lnTo>
                    <a:lnTo>
                      <a:pt x="299" y="398"/>
                    </a:lnTo>
                    <a:lnTo>
                      <a:pt x="299" y="398"/>
                    </a:lnTo>
                    <a:lnTo>
                      <a:pt x="307" y="398"/>
                    </a:lnTo>
                    <a:lnTo>
                      <a:pt x="307" y="389"/>
                    </a:lnTo>
                    <a:lnTo>
                      <a:pt x="316" y="398"/>
                    </a:lnTo>
                    <a:lnTo>
                      <a:pt x="334" y="398"/>
                    </a:lnTo>
                    <a:lnTo>
                      <a:pt x="334" y="398"/>
                    </a:lnTo>
                    <a:lnTo>
                      <a:pt x="343" y="398"/>
                    </a:lnTo>
                    <a:lnTo>
                      <a:pt x="351" y="398"/>
                    </a:lnTo>
                    <a:lnTo>
                      <a:pt x="351" y="398"/>
                    </a:lnTo>
                    <a:lnTo>
                      <a:pt x="360" y="389"/>
                    </a:lnTo>
                    <a:lnTo>
                      <a:pt x="360" y="389"/>
                    </a:lnTo>
                    <a:lnTo>
                      <a:pt x="369" y="398"/>
                    </a:lnTo>
                    <a:lnTo>
                      <a:pt x="369" y="407"/>
                    </a:lnTo>
                    <a:lnTo>
                      <a:pt x="378" y="407"/>
                    </a:lnTo>
                    <a:lnTo>
                      <a:pt x="343" y="601"/>
                    </a:lnTo>
                    <a:lnTo>
                      <a:pt x="281" y="592"/>
                    </a:lnTo>
                    <a:lnTo>
                      <a:pt x="193" y="583"/>
                    </a:lnTo>
                    <a:lnTo>
                      <a:pt x="175" y="575"/>
                    </a:lnTo>
                    <a:lnTo>
                      <a:pt x="96" y="566"/>
                    </a:lnTo>
                    <a:lnTo>
                      <a:pt x="0" y="548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97" name="Freeform 142"/>
              <p:cNvSpPr>
                <a:spLocks/>
              </p:cNvSpPr>
              <p:nvPr/>
            </p:nvSpPr>
            <p:spPr bwMode="auto">
              <a:xfrm>
                <a:off x="1414766" y="1642700"/>
                <a:ext cx="507137" cy="806321"/>
              </a:xfrm>
              <a:custGeom>
                <a:avLst/>
                <a:gdLst/>
                <a:ahLst/>
                <a:cxnLst>
                  <a:cxn ang="0">
                    <a:pos x="35" y="407"/>
                  </a:cxn>
                  <a:cxn ang="0">
                    <a:pos x="35" y="398"/>
                  </a:cxn>
                  <a:cxn ang="0">
                    <a:pos x="44" y="380"/>
                  </a:cxn>
                  <a:cxn ang="0">
                    <a:pos x="44" y="371"/>
                  </a:cxn>
                  <a:cxn ang="0">
                    <a:pos x="35" y="362"/>
                  </a:cxn>
                  <a:cxn ang="0">
                    <a:pos x="35" y="345"/>
                  </a:cxn>
                  <a:cxn ang="0">
                    <a:pos x="44" y="336"/>
                  </a:cxn>
                  <a:cxn ang="0">
                    <a:pos x="61" y="318"/>
                  </a:cxn>
                  <a:cxn ang="0">
                    <a:pos x="61" y="309"/>
                  </a:cxn>
                  <a:cxn ang="0">
                    <a:pos x="79" y="283"/>
                  </a:cxn>
                  <a:cxn ang="0">
                    <a:pos x="96" y="265"/>
                  </a:cxn>
                  <a:cxn ang="0">
                    <a:pos x="79" y="247"/>
                  </a:cxn>
                  <a:cxn ang="0">
                    <a:pos x="79" y="239"/>
                  </a:cxn>
                  <a:cxn ang="0">
                    <a:pos x="70" y="230"/>
                  </a:cxn>
                  <a:cxn ang="0">
                    <a:pos x="70" y="203"/>
                  </a:cxn>
                  <a:cxn ang="0">
                    <a:pos x="79" y="185"/>
                  </a:cxn>
                  <a:cxn ang="0">
                    <a:pos x="114" y="0"/>
                  </a:cxn>
                  <a:cxn ang="0">
                    <a:pos x="167" y="9"/>
                  </a:cxn>
                  <a:cxn ang="0">
                    <a:pos x="149" y="88"/>
                  </a:cxn>
                  <a:cxn ang="0">
                    <a:pos x="158" y="106"/>
                  </a:cxn>
                  <a:cxn ang="0">
                    <a:pos x="167" y="124"/>
                  </a:cxn>
                  <a:cxn ang="0">
                    <a:pos x="167" y="132"/>
                  </a:cxn>
                  <a:cxn ang="0">
                    <a:pos x="167" y="141"/>
                  </a:cxn>
                  <a:cxn ang="0">
                    <a:pos x="175" y="150"/>
                  </a:cxn>
                  <a:cxn ang="0">
                    <a:pos x="184" y="168"/>
                  </a:cxn>
                  <a:cxn ang="0">
                    <a:pos x="193" y="177"/>
                  </a:cxn>
                  <a:cxn ang="0">
                    <a:pos x="193" y="185"/>
                  </a:cxn>
                  <a:cxn ang="0">
                    <a:pos x="202" y="194"/>
                  </a:cxn>
                  <a:cxn ang="0">
                    <a:pos x="211" y="203"/>
                  </a:cxn>
                  <a:cxn ang="0">
                    <a:pos x="211" y="212"/>
                  </a:cxn>
                  <a:cxn ang="0">
                    <a:pos x="219" y="212"/>
                  </a:cxn>
                  <a:cxn ang="0">
                    <a:pos x="211" y="239"/>
                  </a:cxn>
                  <a:cxn ang="0">
                    <a:pos x="211" y="247"/>
                  </a:cxn>
                  <a:cxn ang="0">
                    <a:pos x="202" y="256"/>
                  </a:cxn>
                  <a:cxn ang="0">
                    <a:pos x="211" y="274"/>
                  </a:cxn>
                  <a:cxn ang="0">
                    <a:pos x="202" y="274"/>
                  </a:cxn>
                  <a:cxn ang="0">
                    <a:pos x="193" y="292"/>
                  </a:cxn>
                  <a:cxn ang="0">
                    <a:pos x="202" y="292"/>
                  </a:cxn>
                  <a:cxn ang="0">
                    <a:pos x="211" y="300"/>
                  </a:cxn>
                  <a:cxn ang="0">
                    <a:pos x="228" y="292"/>
                  </a:cxn>
                  <a:cxn ang="0">
                    <a:pos x="237" y="309"/>
                  </a:cxn>
                  <a:cxn ang="0">
                    <a:pos x="246" y="336"/>
                  </a:cxn>
                  <a:cxn ang="0">
                    <a:pos x="246" y="345"/>
                  </a:cxn>
                  <a:cxn ang="0">
                    <a:pos x="246" y="353"/>
                  </a:cxn>
                  <a:cxn ang="0">
                    <a:pos x="255" y="362"/>
                  </a:cxn>
                  <a:cxn ang="0">
                    <a:pos x="263" y="371"/>
                  </a:cxn>
                  <a:cxn ang="0">
                    <a:pos x="263" y="380"/>
                  </a:cxn>
                  <a:cxn ang="0">
                    <a:pos x="263" y="389"/>
                  </a:cxn>
                  <a:cxn ang="0">
                    <a:pos x="272" y="407"/>
                  </a:cxn>
                  <a:cxn ang="0">
                    <a:pos x="272" y="398"/>
                  </a:cxn>
                  <a:cxn ang="0">
                    <a:pos x="290" y="398"/>
                  </a:cxn>
                  <a:cxn ang="0">
                    <a:pos x="299" y="398"/>
                  </a:cxn>
                  <a:cxn ang="0">
                    <a:pos x="307" y="389"/>
                  </a:cxn>
                  <a:cxn ang="0">
                    <a:pos x="334" y="398"/>
                  </a:cxn>
                  <a:cxn ang="0">
                    <a:pos x="343" y="398"/>
                  </a:cxn>
                  <a:cxn ang="0">
                    <a:pos x="351" y="398"/>
                  </a:cxn>
                  <a:cxn ang="0">
                    <a:pos x="360" y="389"/>
                  </a:cxn>
                  <a:cxn ang="0">
                    <a:pos x="369" y="407"/>
                  </a:cxn>
                  <a:cxn ang="0">
                    <a:pos x="343" y="601"/>
                  </a:cxn>
                  <a:cxn ang="0">
                    <a:pos x="193" y="583"/>
                  </a:cxn>
                  <a:cxn ang="0">
                    <a:pos x="96" y="566"/>
                  </a:cxn>
                </a:cxnLst>
                <a:rect l="0" t="0" r="r" b="b"/>
                <a:pathLst>
                  <a:path w="378" h="601">
                    <a:moveTo>
                      <a:pt x="0" y="548"/>
                    </a:moveTo>
                    <a:lnTo>
                      <a:pt x="35" y="407"/>
                    </a:lnTo>
                    <a:lnTo>
                      <a:pt x="35" y="398"/>
                    </a:lnTo>
                    <a:lnTo>
                      <a:pt x="35" y="398"/>
                    </a:lnTo>
                    <a:lnTo>
                      <a:pt x="44" y="389"/>
                    </a:lnTo>
                    <a:lnTo>
                      <a:pt x="44" y="380"/>
                    </a:lnTo>
                    <a:lnTo>
                      <a:pt x="44" y="371"/>
                    </a:lnTo>
                    <a:lnTo>
                      <a:pt x="44" y="371"/>
                    </a:lnTo>
                    <a:lnTo>
                      <a:pt x="35" y="371"/>
                    </a:lnTo>
                    <a:lnTo>
                      <a:pt x="35" y="362"/>
                    </a:lnTo>
                    <a:lnTo>
                      <a:pt x="35" y="362"/>
                    </a:lnTo>
                    <a:lnTo>
                      <a:pt x="35" y="345"/>
                    </a:lnTo>
                    <a:lnTo>
                      <a:pt x="44" y="345"/>
                    </a:lnTo>
                    <a:lnTo>
                      <a:pt x="44" y="336"/>
                    </a:lnTo>
                    <a:lnTo>
                      <a:pt x="52" y="327"/>
                    </a:lnTo>
                    <a:lnTo>
                      <a:pt x="61" y="318"/>
                    </a:lnTo>
                    <a:lnTo>
                      <a:pt x="61" y="318"/>
                    </a:lnTo>
                    <a:lnTo>
                      <a:pt x="61" y="309"/>
                    </a:lnTo>
                    <a:lnTo>
                      <a:pt x="70" y="300"/>
                    </a:lnTo>
                    <a:lnTo>
                      <a:pt x="79" y="283"/>
                    </a:lnTo>
                    <a:lnTo>
                      <a:pt x="87" y="274"/>
                    </a:lnTo>
                    <a:lnTo>
                      <a:pt x="96" y="265"/>
                    </a:lnTo>
                    <a:lnTo>
                      <a:pt x="87" y="256"/>
                    </a:lnTo>
                    <a:lnTo>
                      <a:pt x="79" y="247"/>
                    </a:lnTo>
                    <a:lnTo>
                      <a:pt x="79" y="247"/>
                    </a:lnTo>
                    <a:lnTo>
                      <a:pt x="79" y="239"/>
                    </a:lnTo>
                    <a:lnTo>
                      <a:pt x="79" y="239"/>
                    </a:lnTo>
                    <a:lnTo>
                      <a:pt x="70" y="230"/>
                    </a:lnTo>
                    <a:lnTo>
                      <a:pt x="79" y="212"/>
                    </a:lnTo>
                    <a:lnTo>
                      <a:pt x="70" y="203"/>
                    </a:lnTo>
                    <a:lnTo>
                      <a:pt x="79" y="203"/>
                    </a:lnTo>
                    <a:lnTo>
                      <a:pt x="79" y="185"/>
                    </a:lnTo>
                    <a:lnTo>
                      <a:pt x="114" y="9"/>
                    </a:lnTo>
                    <a:lnTo>
                      <a:pt x="114" y="0"/>
                    </a:lnTo>
                    <a:lnTo>
                      <a:pt x="158" y="9"/>
                    </a:lnTo>
                    <a:lnTo>
                      <a:pt x="167" y="9"/>
                    </a:lnTo>
                    <a:lnTo>
                      <a:pt x="167" y="17"/>
                    </a:lnTo>
                    <a:lnTo>
                      <a:pt x="149" y="88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67" y="115"/>
                    </a:lnTo>
                    <a:lnTo>
                      <a:pt x="167" y="124"/>
                    </a:lnTo>
                    <a:lnTo>
                      <a:pt x="167" y="132"/>
                    </a:lnTo>
                    <a:lnTo>
                      <a:pt x="167" y="132"/>
                    </a:lnTo>
                    <a:lnTo>
                      <a:pt x="158" y="132"/>
                    </a:lnTo>
                    <a:lnTo>
                      <a:pt x="167" y="141"/>
                    </a:lnTo>
                    <a:lnTo>
                      <a:pt x="167" y="150"/>
                    </a:lnTo>
                    <a:lnTo>
                      <a:pt x="175" y="150"/>
                    </a:lnTo>
                    <a:lnTo>
                      <a:pt x="175" y="159"/>
                    </a:lnTo>
                    <a:lnTo>
                      <a:pt x="184" y="168"/>
                    </a:lnTo>
                    <a:lnTo>
                      <a:pt x="184" y="168"/>
                    </a:lnTo>
                    <a:lnTo>
                      <a:pt x="193" y="177"/>
                    </a:lnTo>
                    <a:lnTo>
                      <a:pt x="193" y="185"/>
                    </a:lnTo>
                    <a:lnTo>
                      <a:pt x="193" y="185"/>
                    </a:lnTo>
                    <a:lnTo>
                      <a:pt x="193" y="194"/>
                    </a:lnTo>
                    <a:lnTo>
                      <a:pt x="202" y="194"/>
                    </a:lnTo>
                    <a:lnTo>
                      <a:pt x="202" y="203"/>
                    </a:lnTo>
                    <a:lnTo>
                      <a:pt x="211" y="203"/>
                    </a:lnTo>
                    <a:lnTo>
                      <a:pt x="211" y="203"/>
                    </a:lnTo>
                    <a:lnTo>
                      <a:pt x="211" y="212"/>
                    </a:lnTo>
                    <a:lnTo>
                      <a:pt x="219" y="212"/>
                    </a:lnTo>
                    <a:lnTo>
                      <a:pt x="219" y="212"/>
                    </a:lnTo>
                    <a:lnTo>
                      <a:pt x="219" y="230"/>
                    </a:lnTo>
                    <a:lnTo>
                      <a:pt x="211" y="239"/>
                    </a:lnTo>
                    <a:lnTo>
                      <a:pt x="211" y="239"/>
                    </a:lnTo>
                    <a:lnTo>
                      <a:pt x="211" y="247"/>
                    </a:lnTo>
                    <a:lnTo>
                      <a:pt x="211" y="247"/>
                    </a:lnTo>
                    <a:lnTo>
                      <a:pt x="202" y="256"/>
                    </a:lnTo>
                    <a:lnTo>
                      <a:pt x="211" y="265"/>
                    </a:lnTo>
                    <a:lnTo>
                      <a:pt x="211" y="274"/>
                    </a:lnTo>
                    <a:lnTo>
                      <a:pt x="202" y="274"/>
                    </a:lnTo>
                    <a:lnTo>
                      <a:pt x="202" y="274"/>
                    </a:lnTo>
                    <a:lnTo>
                      <a:pt x="202" y="283"/>
                    </a:lnTo>
                    <a:lnTo>
                      <a:pt x="193" y="292"/>
                    </a:lnTo>
                    <a:lnTo>
                      <a:pt x="193" y="292"/>
                    </a:lnTo>
                    <a:lnTo>
                      <a:pt x="202" y="292"/>
                    </a:lnTo>
                    <a:lnTo>
                      <a:pt x="202" y="300"/>
                    </a:lnTo>
                    <a:lnTo>
                      <a:pt x="211" y="300"/>
                    </a:lnTo>
                    <a:lnTo>
                      <a:pt x="228" y="292"/>
                    </a:lnTo>
                    <a:lnTo>
                      <a:pt x="228" y="292"/>
                    </a:lnTo>
                    <a:lnTo>
                      <a:pt x="237" y="300"/>
                    </a:lnTo>
                    <a:lnTo>
                      <a:pt x="237" y="309"/>
                    </a:lnTo>
                    <a:lnTo>
                      <a:pt x="237" y="327"/>
                    </a:lnTo>
                    <a:lnTo>
                      <a:pt x="246" y="336"/>
                    </a:lnTo>
                    <a:lnTo>
                      <a:pt x="246" y="336"/>
                    </a:lnTo>
                    <a:lnTo>
                      <a:pt x="246" y="345"/>
                    </a:lnTo>
                    <a:lnTo>
                      <a:pt x="246" y="345"/>
                    </a:lnTo>
                    <a:lnTo>
                      <a:pt x="246" y="353"/>
                    </a:lnTo>
                    <a:lnTo>
                      <a:pt x="246" y="362"/>
                    </a:lnTo>
                    <a:lnTo>
                      <a:pt x="255" y="362"/>
                    </a:lnTo>
                    <a:lnTo>
                      <a:pt x="255" y="362"/>
                    </a:lnTo>
                    <a:lnTo>
                      <a:pt x="263" y="371"/>
                    </a:lnTo>
                    <a:lnTo>
                      <a:pt x="263" y="380"/>
                    </a:lnTo>
                    <a:lnTo>
                      <a:pt x="263" y="380"/>
                    </a:lnTo>
                    <a:lnTo>
                      <a:pt x="263" y="389"/>
                    </a:lnTo>
                    <a:lnTo>
                      <a:pt x="263" y="389"/>
                    </a:lnTo>
                    <a:lnTo>
                      <a:pt x="272" y="398"/>
                    </a:lnTo>
                    <a:lnTo>
                      <a:pt x="272" y="407"/>
                    </a:lnTo>
                    <a:lnTo>
                      <a:pt x="272" y="407"/>
                    </a:lnTo>
                    <a:lnTo>
                      <a:pt x="272" y="398"/>
                    </a:lnTo>
                    <a:lnTo>
                      <a:pt x="281" y="398"/>
                    </a:lnTo>
                    <a:lnTo>
                      <a:pt x="290" y="398"/>
                    </a:lnTo>
                    <a:lnTo>
                      <a:pt x="299" y="398"/>
                    </a:lnTo>
                    <a:lnTo>
                      <a:pt x="299" y="398"/>
                    </a:lnTo>
                    <a:lnTo>
                      <a:pt x="307" y="398"/>
                    </a:lnTo>
                    <a:lnTo>
                      <a:pt x="307" y="389"/>
                    </a:lnTo>
                    <a:lnTo>
                      <a:pt x="316" y="398"/>
                    </a:lnTo>
                    <a:lnTo>
                      <a:pt x="334" y="398"/>
                    </a:lnTo>
                    <a:lnTo>
                      <a:pt x="334" y="398"/>
                    </a:lnTo>
                    <a:lnTo>
                      <a:pt x="343" y="398"/>
                    </a:lnTo>
                    <a:lnTo>
                      <a:pt x="351" y="398"/>
                    </a:lnTo>
                    <a:lnTo>
                      <a:pt x="351" y="398"/>
                    </a:lnTo>
                    <a:lnTo>
                      <a:pt x="360" y="389"/>
                    </a:lnTo>
                    <a:lnTo>
                      <a:pt x="360" y="389"/>
                    </a:lnTo>
                    <a:lnTo>
                      <a:pt x="369" y="398"/>
                    </a:lnTo>
                    <a:lnTo>
                      <a:pt x="369" y="407"/>
                    </a:lnTo>
                    <a:lnTo>
                      <a:pt x="378" y="407"/>
                    </a:lnTo>
                    <a:lnTo>
                      <a:pt x="343" y="601"/>
                    </a:lnTo>
                    <a:lnTo>
                      <a:pt x="281" y="592"/>
                    </a:lnTo>
                    <a:lnTo>
                      <a:pt x="193" y="583"/>
                    </a:lnTo>
                    <a:lnTo>
                      <a:pt x="175" y="575"/>
                    </a:lnTo>
                    <a:lnTo>
                      <a:pt x="96" y="566"/>
                    </a:lnTo>
                    <a:lnTo>
                      <a:pt x="0" y="548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98" name="Freeform 147"/>
              <p:cNvSpPr>
                <a:spLocks/>
              </p:cNvSpPr>
              <p:nvPr/>
            </p:nvSpPr>
            <p:spPr bwMode="auto">
              <a:xfrm>
                <a:off x="3810921" y="3622949"/>
                <a:ext cx="766072" cy="582268"/>
              </a:xfrm>
              <a:custGeom>
                <a:avLst/>
                <a:gdLst/>
                <a:ahLst/>
                <a:cxnLst>
                  <a:cxn ang="0">
                    <a:pos x="17" y="53"/>
                  </a:cxn>
                  <a:cxn ang="0">
                    <a:pos x="70" y="27"/>
                  </a:cxn>
                  <a:cxn ang="0">
                    <a:pos x="360" y="27"/>
                  </a:cxn>
                  <a:cxn ang="0">
                    <a:pos x="387" y="27"/>
                  </a:cxn>
                  <a:cxn ang="0">
                    <a:pos x="387" y="0"/>
                  </a:cxn>
                  <a:cxn ang="0">
                    <a:pos x="413" y="0"/>
                  </a:cxn>
                  <a:cxn ang="0">
                    <a:pos x="422" y="18"/>
                  </a:cxn>
                  <a:cxn ang="0">
                    <a:pos x="431" y="53"/>
                  </a:cxn>
                  <a:cxn ang="0">
                    <a:pos x="501" y="160"/>
                  </a:cxn>
                  <a:cxn ang="0">
                    <a:pos x="510" y="195"/>
                  </a:cxn>
                  <a:cxn ang="0">
                    <a:pos x="501" y="177"/>
                  </a:cxn>
                  <a:cxn ang="0">
                    <a:pos x="492" y="151"/>
                  </a:cxn>
                  <a:cxn ang="0">
                    <a:pos x="492" y="168"/>
                  </a:cxn>
                  <a:cxn ang="0">
                    <a:pos x="545" y="257"/>
                  </a:cxn>
                  <a:cxn ang="0">
                    <a:pos x="563" y="275"/>
                  </a:cxn>
                  <a:cxn ang="0">
                    <a:pos x="571" y="328"/>
                  </a:cxn>
                  <a:cxn ang="0">
                    <a:pos x="571" y="363"/>
                  </a:cxn>
                  <a:cxn ang="0">
                    <a:pos x="563" y="389"/>
                  </a:cxn>
                  <a:cxn ang="0">
                    <a:pos x="563" y="416"/>
                  </a:cxn>
                  <a:cxn ang="0">
                    <a:pos x="545" y="416"/>
                  </a:cxn>
                  <a:cxn ang="0">
                    <a:pos x="527" y="434"/>
                  </a:cxn>
                  <a:cxn ang="0">
                    <a:pos x="519" y="425"/>
                  </a:cxn>
                  <a:cxn ang="0">
                    <a:pos x="510" y="416"/>
                  </a:cxn>
                  <a:cxn ang="0">
                    <a:pos x="483" y="381"/>
                  </a:cxn>
                  <a:cxn ang="0">
                    <a:pos x="457" y="372"/>
                  </a:cxn>
                  <a:cxn ang="0">
                    <a:pos x="440" y="336"/>
                  </a:cxn>
                  <a:cxn ang="0">
                    <a:pos x="448" y="319"/>
                  </a:cxn>
                  <a:cxn ang="0">
                    <a:pos x="431" y="328"/>
                  </a:cxn>
                  <a:cxn ang="0">
                    <a:pos x="431" y="301"/>
                  </a:cxn>
                  <a:cxn ang="0">
                    <a:pos x="413" y="301"/>
                  </a:cxn>
                  <a:cxn ang="0">
                    <a:pos x="404" y="310"/>
                  </a:cxn>
                  <a:cxn ang="0">
                    <a:pos x="387" y="275"/>
                  </a:cxn>
                  <a:cxn ang="0">
                    <a:pos x="378" y="266"/>
                  </a:cxn>
                  <a:cxn ang="0">
                    <a:pos x="378" y="239"/>
                  </a:cxn>
                  <a:cxn ang="0">
                    <a:pos x="369" y="239"/>
                  </a:cxn>
                  <a:cxn ang="0">
                    <a:pos x="369" y="248"/>
                  </a:cxn>
                  <a:cxn ang="0">
                    <a:pos x="360" y="230"/>
                  </a:cxn>
                  <a:cxn ang="0">
                    <a:pos x="360" y="177"/>
                  </a:cxn>
                  <a:cxn ang="0">
                    <a:pos x="352" y="151"/>
                  </a:cxn>
                  <a:cxn ang="0">
                    <a:pos x="325" y="133"/>
                  </a:cxn>
                  <a:cxn ang="0">
                    <a:pos x="299" y="107"/>
                  </a:cxn>
                  <a:cxn ang="0">
                    <a:pos x="255" y="80"/>
                  </a:cxn>
                  <a:cxn ang="0">
                    <a:pos x="228" y="89"/>
                  </a:cxn>
                  <a:cxn ang="0">
                    <a:pos x="228" y="98"/>
                  </a:cxn>
                  <a:cxn ang="0">
                    <a:pos x="202" y="107"/>
                  </a:cxn>
                  <a:cxn ang="0">
                    <a:pos x="176" y="124"/>
                  </a:cxn>
                  <a:cxn ang="0">
                    <a:pos x="167" y="115"/>
                  </a:cxn>
                  <a:cxn ang="0">
                    <a:pos x="158" y="98"/>
                  </a:cxn>
                  <a:cxn ang="0">
                    <a:pos x="149" y="98"/>
                  </a:cxn>
                  <a:cxn ang="0">
                    <a:pos x="158" y="89"/>
                  </a:cxn>
                  <a:cxn ang="0">
                    <a:pos x="149" y="80"/>
                  </a:cxn>
                  <a:cxn ang="0">
                    <a:pos x="132" y="80"/>
                  </a:cxn>
                  <a:cxn ang="0">
                    <a:pos x="96" y="71"/>
                  </a:cxn>
                  <a:cxn ang="0">
                    <a:pos x="96" y="71"/>
                  </a:cxn>
                  <a:cxn ang="0">
                    <a:pos x="96" y="62"/>
                  </a:cxn>
                  <a:cxn ang="0">
                    <a:pos x="61" y="71"/>
                  </a:cxn>
                  <a:cxn ang="0">
                    <a:pos x="52" y="71"/>
                  </a:cxn>
                  <a:cxn ang="0">
                    <a:pos x="44" y="62"/>
                  </a:cxn>
                  <a:cxn ang="0">
                    <a:pos x="35" y="80"/>
                  </a:cxn>
                  <a:cxn ang="0">
                    <a:pos x="26" y="80"/>
                  </a:cxn>
                </a:cxnLst>
                <a:rect l="0" t="0" r="r" b="b"/>
                <a:pathLst>
                  <a:path w="571" h="434">
                    <a:moveTo>
                      <a:pt x="17" y="71"/>
                    </a:moveTo>
                    <a:lnTo>
                      <a:pt x="17" y="71"/>
                    </a:lnTo>
                    <a:lnTo>
                      <a:pt x="17" y="71"/>
                    </a:lnTo>
                    <a:lnTo>
                      <a:pt x="17" y="62"/>
                    </a:lnTo>
                    <a:lnTo>
                      <a:pt x="17" y="53"/>
                    </a:lnTo>
                    <a:lnTo>
                      <a:pt x="8" y="53"/>
                    </a:lnTo>
                    <a:lnTo>
                      <a:pt x="0" y="45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70" y="27"/>
                    </a:lnTo>
                    <a:lnTo>
                      <a:pt x="176" y="18"/>
                    </a:lnTo>
                    <a:lnTo>
                      <a:pt x="184" y="27"/>
                    </a:lnTo>
                    <a:lnTo>
                      <a:pt x="184" y="27"/>
                    </a:lnTo>
                    <a:lnTo>
                      <a:pt x="193" y="36"/>
                    </a:lnTo>
                    <a:lnTo>
                      <a:pt x="360" y="27"/>
                    </a:lnTo>
                    <a:lnTo>
                      <a:pt x="369" y="27"/>
                    </a:lnTo>
                    <a:lnTo>
                      <a:pt x="369" y="36"/>
                    </a:lnTo>
                    <a:lnTo>
                      <a:pt x="378" y="36"/>
                    </a:lnTo>
                    <a:lnTo>
                      <a:pt x="387" y="36"/>
                    </a:lnTo>
                    <a:lnTo>
                      <a:pt x="387" y="27"/>
                    </a:lnTo>
                    <a:lnTo>
                      <a:pt x="378" y="18"/>
                    </a:lnTo>
                    <a:lnTo>
                      <a:pt x="378" y="9"/>
                    </a:lnTo>
                    <a:lnTo>
                      <a:pt x="378" y="9"/>
                    </a:lnTo>
                    <a:lnTo>
                      <a:pt x="378" y="0"/>
                    </a:lnTo>
                    <a:lnTo>
                      <a:pt x="387" y="0"/>
                    </a:lnTo>
                    <a:lnTo>
                      <a:pt x="387" y="0"/>
                    </a:lnTo>
                    <a:lnTo>
                      <a:pt x="396" y="0"/>
                    </a:lnTo>
                    <a:lnTo>
                      <a:pt x="404" y="0"/>
                    </a:lnTo>
                    <a:lnTo>
                      <a:pt x="413" y="0"/>
                    </a:lnTo>
                    <a:lnTo>
                      <a:pt x="413" y="0"/>
                    </a:lnTo>
                    <a:lnTo>
                      <a:pt x="413" y="0"/>
                    </a:lnTo>
                    <a:lnTo>
                      <a:pt x="422" y="9"/>
                    </a:lnTo>
                    <a:lnTo>
                      <a:pt x="422" y="18"/>
                    </a:lnTo>
                    <a:lnTo>
                      <a:pt x="413" y="9"/>
                    </a:lnTo>
                    <a:lnTo>
                      <a:pt x="422" y="18"/>
                    </a:lnTo>
                    <a:lnTo>
                      <a:pt x="422" y="27"/>
                    </a:lnTo>
                    <a:lnTo>
                      <a:pt x="431" y="27"/>
                    </a:lnTo>
                    <a:lnTo>
                      <a:pt x="431" y="36"/>
                    </a:lnTo>
                    <a:lnTo>
                      <a:pt x="431" y="45"/>
                    </a:lnTo>
                    <a:lnTo>
                      <a:pt x="431" y="53"/>
                    </a:lnTo>
                    <a:lnTo>
                      <a:pt x="440" y="71"/>
                    </a:lnTo>
                    <a:lnTo>
                      <a:pt x="448" y="89"/>
                    </a:lnTo>
                    <a:lnTo>
                      <a:pt x="466" y="115"/>
                    </a:lnTo>
                    <a:lnTo>
                      <a:pt x="492" y="151"/>
                    </a:lnTo>
                    <a:lnTo>
                      <a:pt x="501" y="160"/>
                    </a:lnTo>
                    <a:lnTo>
                      <a:pt x="510" y="160"/>
                    </a:lnTo>
                    <a:lnTo>
                      <a:pt x="510" y="168"/>
                    </a:lnTo>
                    <a:lnTo>
                      <a:pt x="510" y="177"/>
                    </a:lnTo>
                    <a:lnTo>
                      <a:pt x="510" y="186"/>
                    </a:lnTo>
                    <a:lnTo>
                      <a:pt x="510" y="195"/>
                    </a:lnTo>
                    <a:lnTo>
                      <a:pt x="510" y="195"/>
                    </a:lnTo>
                    <a:lnTo>
                      <a:pt x="527" y="213"/>
                    </a:lnTo>
                    <a:lnTo>
                      <a:pt x="519" y="204"/>
                    </a:lnTo>
                    <a:lnTo>
                      <a:pt x="510" y="195"/>
                    </a:lnTo>
                    <a:lnTo>
                      <a:pt x="501" y="177"/>
                    </a:lnTo>
                    <a:lnTo>
                      <a:pt x="510" y="168"/>
                    </a:lnTo>
                    <a:lnTo>
                      <a:pt x="501" y="160"/>
                    </a:lnTo>
                    <a:lnTo>
                      <a:pt x="501" y="160"/>
                    </a:lnTo>
                    <a:lnTo>
                      <a:pt x="492" y="160"/>
                    </a:lnTo>
                    <a:lnTo>
                      <a:pt x="492" y="151"/>
                    </a:lnTo>
                    <a:lnTo>
                      <a:pt x="492" y="151"/>
                    </a:lnTo>
                    <a:lnTo>
                      <a:pt x="483" y="151"/>
                    </a:lnTo>
                    <a:lnTo>
                      <a:pt x="483" y="151"/>
                    </a:lnTo>
                    <a:lnTo>
                      <a:pt x="483" y="160"/>
                    </a:lnTo>
                    <a:lnTo>
                      <a:pt x="492" y="168"/>
                    </a:lnTo>
                    <a:lnTo>
                      <a:pt x="501" y="177"/>
                    </a:lnTo>
                    <a:lnTo>
                      <a:pt x="510" y="204"/>
                    </a:lnTo>
                    <a:lnTo>
                      <a:pt x="527" y="230"/>
                    </a:lnTo>
                    <a:lnTo>
                      <a:pt x="536" y="248"/>
                    </a:lnTo>
                    <a:lnTo>
                      <a:pt x="545" y="257"/>
                    </a:lnTo>
                    <a:lnTo>
                      <a:pt x="545" y="266"/>
                    </a:lnTo>
                    <a:lnTo>
                      <a:pt x="545" y="266"/>
                    </a:lnTo>
                    <a:lnTo>
                      <a:pt x="545" y="266"/>
                    </a:lnTo>
                    <a:lnTo>
                      <a:pt x="554" y="266"/>
                    </a:lnTo>
                    <a:lnTo>
                      <a:pt x="563" y="275"/>
                    </a:lnTo>
                    <a:lnTo>
                      <a:pt x="563" y="283"/>
                    </a:lnTo>
                    <a:lnTo>
                      <a:pt x="563" y="283"/>
                    </a:lnTo>
                    <a:lnTo>
                      <a:pt x="571" y="301"/>
                    </a:lnTo>
                    <a:lnTo>
                      <a:pt x="571" y="328"/>
                    </a:lnTo>
                    <a:lnTo>
                      <a:pt x="571" y="328"/>
                    </a:lnTo>
                    <a:lnTo>
                      <a:pt x="571" y="345"/>
                    </a:lnTo>
                    <a:lnTo>
                      <a:pt x="571" y="354"/>
                    </a:lnTo>
                    <a:lnTo>
                      <a:pt x="571" y="363"/>
                    </a:lnTo>
                    <a:lnTo>
                      <a:pt x="571" y="372"/>
                    </a:lnTo>
                    <a:lnTo>
                      <a:pt x="571" y="363"/>
                    </a:lnTo>
                    <a:lnTo>
                      <a:pt x="571" y="372"/>
                    </a:lnTo>
                    <a:lnTo>
                      <a:pt x="571" y="372"/>
                    </a:lnTo>
                    <a:lnTo>
                      <a:pt x="563" y="381"/>
                    </a:lnTo>
                    <a:lnTo>
                      <a:pt x="563" y="381"/>
                    </a:lnTo>
                    <a:lnTo>
                      <a:pt x="563" y="389"/>
                    </a:lnTo>
                    <a:lnTo>
                      <a:pt x="563" y="389"/>
                    </a:lnTo>
                    <a:lnTo>
                      <a:pt x="563" y="398"/>
                    </a:lnTo>
                    <a:lnTo>
                      <a:pt x="563" y="407"/>
                    </a:lnTo>
                    <a:lnTo>
                      <a:pt x="563" y="407"/>
                    </a:lnTo>
                    <a:lnTo>
                      <a:pt x="563" y="416"/>
                    </a:lnTo>
                    <a:lnTo>
                      <a:pt x="563" y="416"/>
                    </a:lnTo>
                    <a:lnTo>
                      <a:pt x="554" y="416"/>
                    </a:lnTo>
                    <a:lnTo>
                      <a:pt x="563" y="416"/>
                    </a:lnTo>
                    <a:lnTo>
                      <a:pt x="554" y="416"/>
                    </a:lnTo>
                    <a:lnTo>
                      <a:pt x="545" y="416"/>
                    </a:lnTo>
                    <a:lnTo>
                      <a:pt x="545" y="425"/>
                    </a:lnTo>
                    <a:lnTo>
                      <a:pt x="536" y="425"/>
                    </a:lnTo>
                    <a:lnTo>
                      <a:pt x="536" y="425"/>
                    </a:lnTo>
                    <a:lnTo>
                      <a:pt x="527" y="425"/>
                    </a:lnTo>
                    <a:lnTo>
                      <a:pt x="527" y="434"/>
                    </a:lnTo>
                    <a:lnTo>
                      <a:pt x="510" y="434"/>
                    </a:lnTo>
                    <a:lnTo>
                      <a:pt x="510" y="425"/>
                    </a:lnTo>
                    <a:lnTo>
                      <a:pt x="510" y="425"/>
                    </a:lnTo>
                    <a:lnTo>
                      <a:pt x="510" y="416"/>
                    </a:lnTo>
                    <a:lnTo>
                      <a:pt x="519" y="425"/>
                    </a:lnTo>
                    <a:lnTo>
                      <a:pt x="519" y="425"/>
                    </a:lnTo>
                    <a:lnTo>
                      <a:pt x="527" y="416"/>
                    </a:lnTo>
                    <a:lnTo>
                      <a:pt x="519" y="416"/>
                    </a:lnTo>
                    <a:lnTo>
                      <a:pt x="519" y="416"/>
                    </a:lnTo>
                    <a:lnTo>
                      <a:pt x="510" y="416"/>
                    </a:lnTo>
                    <a:lnTo>
                      <a:pt x="501" y="407"/>
                    </a:lnTo>
                    <a:lnTo>
                      <a:pt x="501" y="398"/>
                    </a:lnTo>
                    <a:lnTo>
                      <a:pt x="492" y="389"/>
                    </a:lnTo>
                    <a:lnTo>
                      <a:pt x="483" y="389"/>
                    </a:lnTo>
                    <a:lnTo>
                      <a:pt x="483" y="381"/>
                    </a:lnTo>
                    <a:lnTo>
                      <a:pt x="475" y="381"/>
                    </a:lnTo>
                    <a:lnTo>
                      <a:pt x="475" y="381"/>
                    </a:lnTo>
                    <a:lnTo>
                      <a:pt x="466" y="381"/>
                    </a:lnTo>
                    <a:lnTo>
                      <a:pt x="466" y="381"/>
                    </a:lnTo>
                    <a:lnTo>
                      <a:pt x="457" y="372"/>
                    </a:lnTo>
                    <a:lnTo>
                      <a:pt x="466" y="372"/>
                    </a:lnTo>
                    <a:lnTo>
                      <a:pt x="457" y="372"/>
                    </a:lnTo>
                    <a:lnTo>
                      <a:pt x="448" y="363"/>
                    </a:lnTo>
                    <a:lnTo>
                      <a:pt x="448" y="345"/>
                    </a:lnTo>
                    <a:lnTo>
                      <a:pt x="440" y="336"/>
                    </a:lnTo>
                    <a:lnTo>
                      <a:pt x="440" y="336"/>
                    </a:lnTo>
                    <a:lnTo>
                      <a:pt x="440" y="336"/>
                    </a:lnTo>
                    <a:lnTo>
                      <a:pt x="440" y="328"/>
                    </a:lnTo>
                    <a:lnTo>
                      <a:pt x="440" y="328"/>
                    </a:lnTo>
                    <a:lnTo>
                      <a:pt x="448" y="319"/>
                    </a:lnTo>
                    <a:lnTo>
                      <a:pt x="440" y="328"/>
                    </a:lnTo>
                    <a:lnTo>
                      <a:pt x="440" y="328"/>
                    </a:lnTo>
                    <a:lnTo>
                      <a:pt x="431" y="336"/>
                    </a:lnTo>
                    <a:lnTo>
                      <a:pt x="431" y="336"/>
                    </a:lnTo>
                    <a:lnTo>
                      <a:pt x="431" y="328"/>
                    </a:lnTo>
                    <a:lnTo>
                      <a:pt x="422" y="328"/>
                    </a:lnTo>
                    <a:lnTo>
                      <a:pt x="422" y="319"/>
                    </a:lnTo>
                    <a:lnTo>
                      <a:pt x="422" y="310"/>
                    </a:lnTo>
                    <a:lnTo>
                      <a:pt x="422" y="301"/>
                    </a:lnTo>
                    <a:lnTo>
                      <a:pt x="431" y="301"/>
                    </a:lnTo>
                    <a:lnTo>
                      <a:pt x="431" y="301"/>
                    </a:lnTo>
                    <a:lnTo>
                      <a:pt x="413" y="310"/>
                    </a:lnTo>
                    <a:lnTo>
                      <a:pt x="413" y="301"/>
                    </a:lnTo>
                    <a:lnTo>
                      <a:pt x="413" y="301"/>
                    </a:lnTo>
                    <a:lnTo>
                      <a:pt x="413" y="301"/>
                    </a:lnTo>
                    <a:lnTo>
                      <a:pt x="413" y="310"/>
                    </a:lnTo>
                    <a:lnTo>
                      <a:pt x="422" y="319"/>
                    </a:lnTo>
                    <a:lnTo>
                      <a:pt x="413" y="310"/>
                    </a:lnTo>
                    <a:lnTo>
                      <a:pt x="413" y="319"/>
                    </a:lnTo>
                    <a:lnTo>
                      <a:pt x="404" y="310"/>
                    </a:lnTo>
                    <a:lnTo>
                      <a:pt x="396" y="301"/>
                    </a:lnTo>
                    <a:lnTo>
                      <a:pt x="396" y="301"/>
                    </a:lnTo>
                    <a:lnTo>
                      <a:pt x="387" y="283"/>
                    </a:lnTo>
                    <a:lnTo>
                      <a:pt x="387" y="283"/>
                    </a:lnTo>
                    <a:lnTo>
                      <a:pt x="387" y="275"/>
                    </a:lnTo>
                    <a:lnTo>
                      <a:pt x="369" y="266"/>
                    </a:lnTo>
                    <a:lnTo>
                      <a:pt x="369" y="266"/>
                    </a:lnTo>
                    <a:lnTo>
                      <a:pt x="378" y="266"/>
                    </a:lnTo>
                    <a:lnTo>
                      <a:pt x="378" y="266"/>
                    </a:lnTo>
                    <a:lnTo>
                      <a:pt x="378" y="266"/>
                    </a:lnTo>
                    <a:lnTo>
                      <a:pt x="378" y="257"/>
                    </a:lnTo>
                    <a:lnTo>
                      <a:pt x="387" y="239"/>
                    </a:lnTo>
                    <a:lnTo>
                      <a:pt x="387" y="239"/>
                    </a:lnTo>
                    <a:lnTo>
                      <a:pt x="387" y="230"/>
                    </a:lnTo>
                    <a:lnTo>
                      <a:pt x="378" y="239"/>
                    </a:lnTo>
                    <a:lnTo>
                      <a:pt x="378" y="230"/>
                    </a:lnTo>
                    <a:lnTo>
                      <a:pt x="369" y="221"/>
                    </a:lnTo>
                    <a:lnTo>
                      <a:pt x="369" y="230"/>
                    </a:lnTo>
                    <a:lnTo>
                      <a:pt x="369" y="230"/>
                    </a:lnTo>
                    <a:lnTo>
                      <a:pt x="369" y="239"/>
                    </a:lnTo>
                    <a:lnTo>
                      <a:pt x="369" y="239"/>
                    </a:lnTo>
                    <a:lnTo>
                      <a:pt x="378" y="239"/>
                    </a:lnTo>
                    <a:lnTo>
                      <a:pt x="378" y="248"/>
                    </a:lnTo>
                    <a:lnTo>
                      <a:pt x="369" y="248"/>
                    </a:lnTo>
                    <a:lnTo>
                      <a:pt x="369" y="248"/>
                    </a:lnTo>
                    <a:lnTo>
                      <a:pt x="360" y="239"/>
                    </a:lnTo>
                    <a:lnTo>
                      <a:pt x="369" y="248"/>
                    </a:lnTo>
                    <a:lnTo>
                      <a:pt x="360" y="248"/>
                    </a:lnTo>
                    <a:lnTo>
                      <a:pt x="360" y="239"/>
                    </a:lnTo>
                    <a:lnTo>
                      <a:pt x="360" y="230"/>
                    </a:lnTo>
                    <a:lnTo>
                      <a:pt x="360" y="221"/>
                    </a:lnTo>
                    <a:lnTo>
                      <a:pt x="360" y="221"/>
                    </a:lnTo>
                    <a:lnTo>
                      <a:pt x="360" y="195"/>
                    </a:lnTo>
                    <a:lnTo>
                      <a:pt x="360" y="186"/>
                    </a:lnTo>
                    <a:lnTo>
                      <a:pt x="360" y="177"/>
                    </a:lnTo>
                    <a:lnTo>
                      <a:pt x="360" y="168"/>
                    </a:lnTo>
                    <a:lnTo>
                      <a:pt x="360" y="160"/>
                    </a:lnTo>
                    <a:lnTo>
                      <a:pt x="360" y="160"/>
                    </a:lnTo>
                    <a:lnTo>
                      <a:pt x="352" y="160"/>
                    </a:lnTo>
                    <a:lnTo>
                      <a:pt x="352" y="151"/>
                    </a:lnTo>
                    <a:lnTo>
                      <a:pt x="352" y="142"/>
                    </a:lnTo>
                    <a:lnTo>
                      <a:pt x="343" y="142"/>
                    </a:lnTo>
                    <a:lnTo>
                      <a:pt x="334" y="142"/>
                    </a:lnTo>
                    <a:lnTo>
                      <a:pt x="325" y="142"/>
                    </a:lnTo>
                    <a:lnTo>
                      <a:pt x="325" y="133"/>
                    </a:lnTo>
                    <a:lnTo>
                      <a:pt x="325" y="133"/>
                    </a:lnTo>
                    <a:lnTo>
                      <a:pt x="316" y="124"/>
                    </a:lnTo>
                    <a:lnTo>
                      <a:pt x="299" y="115"/>
                    </a:lnTo>
                    <a:lnTo>
                      <a:pt x="299" y="107"/>
                    </a:lnTo>
                    <a:lnTo>
                      <a:pt x="299" y="107"/>
                    </a:lnTo>
                    <a:lnTo>
                      <a:pt x="290" y="98"/>
                    </a:lnTo>
                    <a:lnTo>
                      <a:pt x="281" y="89"/>
                    </a:lnTo>
                    <a:lnTo>
                      <a:pt x="272" y="80"/>
                    </a:lnTo>
                    <a:lnTo>
                      <a:pt x="264" y="80"/>
                    </a:lnTo>
                    <a:lnTo>
                      <a:pt x="255" y="80"/>
                    </a:lnTo>
                    <a:lnTo>
                      <a:pt x="255" y="80"/>
                    </a:lnTo>
                    <a:lnTo>
                      <a:pt x="246" y="80"/>
                    </a:lnTo>
                    <a:lnTo>
                      <a:pt x="237" y="80"/>
                    </a:lnTo>
                    <a:lnTo>
                      <a:pt x="228" y="80"/>
                    </a:lnTo>
                    <a:lnTo>
                      <a:pt x="228" y="89"/>
                    </a:lnTo>
                    <a:lnTo>
                      <a:pt x="228" y="89"/>
                    </a:lnTo>
                    <a:lnTo>
                      <a:pt x="228" y="89"/>
                    </a:lnTo>
                    <a:lnTo>
                      <a:pt x="228" y="89"/>
                    </a:lnTo>
                    <a:lnTo>
                      <a:pt x="237" y="98"/>
                    </a:lnTo>
                    <a:lnTo>
                      <a:pt x="228" y="98"/>
                    </a:lnTo>
                    <a:lnTo>
                      <a:pt x="228" y="98"/>
                    </a:lnTo>
                    <a:lnTo>
                      <a:pt x="220" y="98"/>
                    </a:lnTo>
                    <a:lnTo>
                      <a:pt x="202" y="107"/>
                    </a:lnTo>
                    <a:lnTo>
                      <a:pt x="202" y="107"/>
                    </a:lnTo>
                    <a:lnTo>
                      <a:pt x="202" y="107"/>
                    </a:lnTo>
                    <a:lnTo>
                      <a:pt x="193" y="115"/>
                    </a:lnTo>
                    <a:lnTo>
                      <a:pt x="193" y="115"/>
                    </a:lnTo>
                    <a:lnTo>
                      <a:pt x="184" y="115"/>
                    </a:lnTo>
                    <a:lnTo>
                      <a:pt x="176" y="115"/>
                    </a:lnTo>
                    <a:lnTo>
                      <a:pt x="176" y="124"/>
                    </a:lnTo>
                    <a:lnTo>
                      <a:pt x="167" y="124"/>
                    </a:lnTo>
                    <a:lnTo>
                      <a:pt x="167" y="115"/>
                    </a:lnTo>
                    <a:lnTo>
                      <a:pt x="167" y="115"/>
                    </a:lnTo>
                    <a:lnTo>
                      <a:pt x="167" y="107"/>
                    </a:lnTo>
                    <a:lnTo>
                      <a:pt x="167" y="115"/>
                    </a:lnTo>
                    <a:lnTo>
                      <a:pt x="167" y="115"/>
                    </a:lnTo>
                    <a:lnTo>
                      <a:pt x="167" y="115"/>
                    </a:lnTo>
                    <a:lnTo>
                      <a:pt x="167" y="115"/>
                    </a:lnTo>
                    <a:lnTo>
                      <a:pt x="167" y="107"/>
                    </a:lnTo>
                    <a:lnTo>
                      <a:pt x="158" y="98"/>
                    </a:lnTo>
                    <a:lnTo>
                      <a:pt x="158" y="98"/>
                    </a:lnTo>
                    <a:lnTo>
                      <a:pt x="149" y="98"/>
                    </a:lnTo>
                    <a:lnTo>
                      <a:pt x="149" y="98"/>
                    </a:lnTo>
                    <a:lnTo>
                      <a:pt x="149" y="98"/>
                    </a:lnTo>
                    <a:lnTo>
                      <a:pt x="149" y="98"/>
                    </a:lnTo>
                    <a:lnTo>
                      <a:pt x="140" y="89"/>
                    </a:lnTo>
                    <a:lnTo>
                      <a:pt x="149" y="89"/>
                    </a:lnTo>
                    <a:lnTo>
                      <a:pt x="158" y="98"/>
                    </a:lnTo>
                    <a:lnTo>
                      <a:pt x="158" y="89"/>
                    </a:lnTo>
                    <a:lnTo>
                      <a:pt x="158" y="89"/>
                    </a:lnTo>
                    <a:lnTo>
                      <a:pt x="149" y="89"/>
                    </a:lnTo>
                    <a:lnTo>
                      <a:pt x="149" y="89"/>
                    </a:lnTo>
                    <a:lnTo>
                      <a:pt x="140" y="80"/>
                    </a:lnTo>
                    <a:lnTo>
                      <a:pt x="140" y="80"/>
                    </a:lnTo>
                    <a:lnTo>
                      <a:pt x="149" y="80"/>
                    </a:lnTo>
                    <a:lnTo>
                      <a:pt x="149" y="71"/>
                    </a:lnTo>
                    <a:lnTo>
                      <a:pt x="140" y="80"/>
                    </a:lnTo>
                    <a:lnTo>
                      <a:pt x="132" y="80"/>
                    </a:lnTo>
                    <a:lnTo>
                      <a:pt x="132" y="80"/>
                    </a:lnTo>
                    <a:lnTo>
                      <a:pt x="132" y="80"/>
                    </a:lnTo>
                    <a:lnTo>
                      <a:pt x="140" y="80"/>
                    </a:lnTo>
                    <a:lnTo>
                      <a:pt x="140" y="89"/>
                    </a:lnTo>
                    <a:lnTo>
                      <a:pt x="132" y="80"/>
                    </a:lnTo>
                    <a:lnTo>
                      <a:pt x="114" y="80"/>
                    </a:lnTo>
                    <a:lnTo>
                      <a:pt x="96" y="71"/>
                    </a:lnTo>
                    <a:lnTo>
                      <a:pt x="88" y="71"/>
                    </a:lnTo>
                    <a:lnTo>
                      <a:pt x="88" y="71"/>
                    </a:lnTo>
                    <a:lnTo>
                      <a:pt x="96" y="71"/>
                    </a:lnTo>
                    <a:lnTo>
                      <a:pt x="96" y="71"/>
                    </a:lnTo>
                    <a:lnTo>
                      <a:pt x="96" y="71"/>
                    </a:lnTo>
                    <a:lnTo>
                      <a:pt x="105" y="71"/>
                    </a:lnTo>
                    <a:lnTo>
                      <a:pt x="114" y="71"/>
                    </a:lnTo>
                    <a:lnTo>
                      <a:pt x="105" y="71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88" y="71"/>
                    </a:lnTo>
                    <a:lnTo>
                      <a:pt x="88" y="62"/>
                    </a:lnTo>
                    <a:lnTo>
                      <a:pt x="79" y="71"/>
                    </a:lnTo>
                    <a:lnTo>
                      <a:pt x="79" y="71"/>
                    </a:lnTo>
                    <a:lnTo>
                      <a:pt x="61" y="71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52" y="80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44" y="62"/>
                    </a:lnTo>
                    <a:lnTo>
                      <a:pt x="44" y="71"/>
                    </a:lnTo>
                    <a:lnTo>
                      <a:pt x="44" y="71"/>
                    </a:lnTo>
                    <a:lnTo>
                      <a:pt x="44" y="62"/>
                    </a:lnTo>
                    <a:lnTo>
                      <a:pt x="35" y="71"/>
                    </a:lnTo>
                    <a:lnTo>
                      <a:pt x="35" y="71"/>
                    </a:lnTo>
                    <a:lnTo>
                      <a:pt x="35" y="71"/>
                    </a:lnTo>
                    <a:lnTo>
                      <a:pt x="35" y="80"/>
                    </a:lnTo>
                    <a:lnTo>
                      <a:pt x="35" y="80"/>
                    </a:lnTo>
                    <a:lnTo>
                      <a:pt x="26" y="89"/>
                    </a:lnTo>
                    <a:lnTo>
                      <a:pt x="26" y="89"/>
                    </a:lnTo>
                    <a:lnTo>
                      <a:pt x="17" y="89"/>
                    </a:lnTo>
                    <a:lnTo>
                      <a:pt x="17" y="80"/>
                    </a:lnTo>
                    <a:lnTo>
                      <a:pt x="26" y="80"/>
                    </a:lnTo>
                    <a:lnTo>
                      <a:pt x="26" y="80"/>
                    </a:lnTo>
                    <a:lnTo>
                      <a:pt x="17" y="71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grpSp>
            <p:nvGrpSpPr>
              <p:cNvPr id="99" name="Group 409"/>
              <p:cNvGrpSpPr/>
              <p:nvPr/>
            </p:nvGrpSpPr>
            <p:grpSpPr>
              <a:xfrm>
                <a:off x="4377089" y="2567084"/>
                <a:ext cx="376999" cy="214661"/>
                <a:chOff x="4714875" y="2476501"/>
                <a:chExt cx="446088" cy="254000"/>
              </a:xfrm>
              <a:grpFill/>
            </p:grpSpPr>
            <p:sp>
              <p:nvSpPr>
                <p:cNvPr id="109" name="Freeform 123"/>
                <p:cNvSpPr>
                  <a:spLocks/>
                </p:cNvSpPr>
                <p:nvPr/>
              </p:nvSpPr>
              <p:spPr bwMode="auto">
                <a:xfrm>
                  <a:off x="4714875" y="2505076"/>
                  <a:ext cx="446088" cy="225425"/>
                </a:xfrm>
                <a:custGeom>
                  <a:avLst/>
                  <a:gdLst/>
                  <a:ahLst/>
                  <a:cxnLst>
                    <a:cxn ang="0">
                      <a:pos x="220" y="0"/>
                    </a:cxn>
                    <a:cxn ang="0">
                      <a:pos x="246" y="97"/>
                    </a:cxn>
                    <a:cxn ang="0">
                      <a:pos x="273" y="89"/>
                    </a:cxn>
                    <a:cxn ang="0">
                      <a:pos x="273" y="106"/>
                    </a:cxn>
                    <a:cxn ang="0">
                      <a:pos x="273" y="124"/>
                    </a:cxn>
                    <a:cxn ang="0">
                      <a:pos x="246" y="133"/>
                    </a:cxn>
                    <a:cxn ang="0">
                      <a:pos x="246" y="133"/>
                    </a:cxn>
                    <a:cxn ang="0">
                      <a:pos x="237" y="124"/>
                    </a:cxn>
                    <a:cxn ang="0">
                      <a:pos x="237" y="115"/>
                    </a:cxn>
                    <a:cxn ang="0">
                      <a:pos x="229" y="115"/>
                    </a:cxn>
                    <a:cxn ang="0">
                      <a:pos x="229" y="115"/>
                    </a:cxn>
                    <a:cxn ang="0">
                      <a:pos x="220" y="115"/>
                    </a:cxn>
                    <a:cxn ang="0">
                      <a:pos x="211" y="106"/>
                    </a:cxn>
                    <a:cxn ang="0">
                      <a:pos x="202" y="97"/>
                    </a:cxn>
                    <a:cxn ang="0">
                      <a:pos x="220" y="89"/>
                    </a:cxn>
                    <a:cxn ang="0">
                      <a:pos x="211" y="80"/>
                    </a:cxn>
                    <a:cxn ang="0">
                      <a:pos x="202" y="89"/>
                    </a:cxn>
                    <a:cxn ang="0">
                      <a:pos x="202" y="71"/>
                    </a:cxn>
                    <a:cxn ang="0">
                      <a:pos x="211" y="71"/>
                    </a:cxn>
                    <a:cxn ang="0">
                      <a:pos x="202" y="62"/>
                    </a:cxn>
                    <a:cxn ang="0">
                      <a:pos x="193" y="62"/>
                    </a:cxn>
                    <a:cxn ang="0">
                      <a:pos x="202" y="53"/>
                    </a:cxn>
                    <a:cxn ang="0">
                      <a:pos x="202" y="53"/>
                    </a:cxn>
                    <a:cxn ang="0">
                      <a:pos x="202" y="27"/>
                    </a:cxn>
                    <a:cxn ang="0">
                      <a:pos x="211" y="27"/>
                    </a:cxn>
                    <a:cxn ang="0">
                      <a:pos x="211" y="18"/>
                    </a:cxn>
                    <a:cxn ang="0">
                      <a:pos x="202" y="18"/>
                    </a:cxn>
                    <a:cxn ang="0">
                      <a:pos x="202" y="27"/>
                    </a:cxn>
                    <a:cxn ang="0">
                      <a:pos x="193" y="27"/>
                    </a:cxn>
                    <a:cxn ang="0">
                      <a:pos x="185" y="36"/>
                    </a:cxn>
                    <a:cxn ang="0">
                      <a:pos x="185" y="44"/>
                    </a:cxn>
                    <a:cxn ang="0">
                      <a:pos x="185" y="44"/>
                    </a:cxn>
                    <a:cxn ang="0">
                      <a:pos x="185" y="62"/>
                    </a:cxn>
                    <a:cxn ang="0">
                      <a:pos x="185" y="62"/>
                    </a:cxn>
                    <a:cxn ang="0">
                      <a:pos x="185" y="71"/>
                    </a:cxn>
                    <a:cxn ang="0">
                      <a:pos x="193" y="89"/>
                    </a:cxn>
                    <a:cxn ang="0">
                      <a:pos x="202" y="115"/>
                    </a:cxn>
                    <a:cxn ang="0">
                      <a:pos x="185" y="106"/>
                    </a:cxn>
                    <a:cxn ang="0">
                      <a:pos x="185" y="97"/>
                    </a:cxn>
                    <a:cxn ang="0">
                      <a:pos x="193" y="115"/>
                    </a:cxn>
                    <a:cxn ang="0">
                      <a:pos x="211" y="133"/>
                    </a:cxn>
                    <a:cxn ang="0">
                      <a:pos x="202" y="133"/>
                    </a:cxn>
                    <a:cxn ang="0">
                      <a:pos x="185" y="124"/>
                    </a:cxn>
                    <a:cxn ang="0">
                      <a:pos x="176" y="115"/>
                    </a:cxn>
                    <a:cxn ang="0">
                      <a:pos x="167" y="124"/>
                    </a:cxn>
                    <a:cxn ang="0">
                      <a:pos x="158" y="115"/>
                    </a:cxn>
                    <a:cxn ang="0">
                      <a:pos x="149" y="115"/>
                    </a:cxn>
                    <a:cxn ang="0">
                      <a:pos x="149" y="106"/>
                    </a:cxn>
                    <a:cxn ang="0">
                      <a:pos x="158" y="89"/>
                    </a:cxn>
                    <a:cxn ang="0">
                      <a:pos x="158" y="80"/>
                    </a:cxn>
                    <a:cxn ang="0">
                      <a:pos x="149" y="80"/>
                    </a:cxn>
                    <a:cxn ang="0">
                      <a:pos x="132" y="71"/>
                    </a:cxn>
                    <a:cxn ang="0">
                      <a:pos x="123" y="53"/>
                    </a:cxn>
                    <a:cxn ang="0">
                      <a:pos x="105" y="53"/>
                    </a:cxn>
                    <a:cxn ang="0">
                      <a:pos x="97" y="44"/>
                    </a:cxn>
                    <a:cxn ang="0">
                      <a:pos x="88" y="36"/>
                    </a:cxn>
                    <a:cxn ang="0">
                      <a:pos x="70" y="36"/>
                    </a:cxn>
                    <a:cxn ang="0">
                      <a:pos x="61" y="44"/>
                    </a:cxn>
                    <a:cxn ang="0">
                      <a:pos x="44" y="44"/>
                    </a:cxn>
                    <a:cxn ang="0">
                      <a:pos x="44" y="44"/>
                    </a:cxn>
                    <a:cxn ang="0">
                      <a:pos x="26" y="62"/>
                    </a:cxn>
                    <a:cxn ang="0">
                      <a:pos x="18" y="71"/>
                    </a:cxn>
                    <a:cxn ang="0">
                      <a:pos x="0" y="44"/>
                    </a:cxn>
                  </a:cxnLst>
                  <a:rect l="0" t="0" r="r" b="b"/>
                  <a:pathLst>
                    <a:path w="281" h="142">
                      <a:moveTo>
                        <a:pt x="0" y="44"/>
                      </a:moveTo>
                      <a:lnTo>
                        <a:pt x="97" y="27"/>
                      </a:lnTo>
                      <a:lnTo>
                        <a:pt x="220" y="0"/>
                      </a:lnTo>
                      <a:lnTo>
                        <a:pt x="229" y="53"/>
                      </a:lnTo>
                      <a:lnTo>
                        <a:pt x="237" y="89"/>
                      </a:lnTo>
                      <a:lnTo>
                        <a:pt x="246" y="97"/>
                      </a:lnTo>
                      <a:lnTo>
                        <a:pt x="281" y="89"/>
                      </a:lnTo>
                      <a:lnTo>
                        <a:pt x="281" y="89"/>
                      </a:lnTo>
                      <a:lnTo>
                        <a:pt x="273" y="89"/>
                      </a:lnTo>
                      <a:lnTo>
                        <a:pt x="281" y="97"/>
                      </a:lnTo>
                      <a:lnTo>
                        <a:pt x="281" y="106"/>
                      </a:lnTo>
                      <a:lnTo>
                        <a:pt x="273" y="106"/>
                      </a:lnTo>
                      <a:lnTo>
                        <a:pt x="273" y="115"/>
                      </a:lnTo>
                      <a:lnTo>
                        <a:pt x="273" y="124"/>
                      </a:lnTo>
                      <a:lnTo>
                        <a:pt x="273" y="124"/>
                      </a:lnTo>
                      <a:lnTo>
                        <a:pt x="255" y="133"/>
                      </a:lnTo>
                      <a:lnTo>
                        <a:pt x="255" y="133"/>
                      </a:lnTo>
                      <a:lnTo>
                        <a:pt x="246" y="133"/>
                      </a:lnTo>
                      <a:lnTo>
                        <a:pt x="237" y="142"/>
                      </a:lnTo>
                      <a:lnTo>
                        <a:pt x="237" y="133"/>
                      </a:lnTo>
                      <a:lnTo>
                        <a:pt x="246" y="133"/>
                      </a:lnTo>
                      <a:lnTo>
                        <a:pt x="246" y="124"/>
                      </a:lnTo>
                      <a:lnTo>
                        <a:pt x="237" y="124"/>
                      </a:lnTo>
                      <a:lnTo>
                        <a:pt x="237" y="124"/>
                      </a:lnTo>
                      <a:lnTo>
                        <a:pt x="237" y="124"/>
                      </a:lnTo>
                      <a:lnTo>
                        <a:pt x="237" y="124"/>
                      </a:lnTo>
                      <a:lnTo>
                        <a:pt x="237" y="115"/>
                      </a:lnTo>
                      <a:lnTo>
                        <a:pt x="237" y="115"/>
                      </a:lnTo>
                      <a:lnTo>
                        <a:pt x="237" y="106"/>
                      </a:lnTo>
                      <a:lnTo>
                        <a:pt x="229" y="115"/>
                      </a:lnTo>
                      <a:lnTo>
                        <a:pt x="229" y="115"/>
                      </a:lnTo>
                      <a:lnTo>
                        <a:pt x="229" y="106"/>
                      </a:lnTo>
                      <a:lnTo>
                        <a:pt x="229" y="115"/>
                      </a:lnTo>
                      <a:lnTo>
                        <a:pt x="229" y="115"/>
                      </a:lnTo>
                      <a:lnTo>
                        <a:pt x="220" y="115"/>
                      </a:lnTo>
                      <a:lnTo>
                        <a:pt x="220" y="115"/>
                      </a:lnTo>
                      <a:lnTo>
                        <a:pt x="211" y="106"/>
                      </a:lnTo>
                      <a:lnTo>
                        <a:pt x="211" y="115"/>
                      </a:lnTo>
                      <a:lnTo>
                        <a:pt x="211" y="106"/>
                      </a:lnTo>
                      <a:lnTo>
                        <a:pt x="211" y="106"/>
                      </a:lnTo>
                      <a:lnTo>
                        <a:pt x="211" y="97"/>
                      </a:lnTo>
                      <a:lnTo>
                        <a:pt x="202" y="97"/>
                      </a:lnTo>
                      <a:lnTo>
                        <a:pt x="211" y="89"/>
                      </a:lnTo>
                      <a:lnTo>
                        <a:pt x="220" y="89"/>
                      </a:lnTo>
                      <a:lnTo>
                        <a:pt x="220" y="89"/>
                      </a:lnTo>
                      <a:lnTo>
                        <a:pt x="220" y="89"/>
                      </a:lnTo>
                      <a:lnTo>
                        <a:pt x="211" y="89"/>
                      </a:lnTo>
                      <a:lnTo>
                        <a:pt x="211" y="80"/>
                      </a:lnTo>
                      <a:lnTo>
                        <a:pt x="211" y="80"/>
                      </a:lnTo>
                      <a:lnTo>
                        <a:pt x="202" y="80"/>
                      </a:lnTo>
                      <a:lnTo>
                        <a:pt x="202" y="89"/>
                      </a:lnTo>
                      <a:lnTo>
                        <a:pt x="202" y="80"/>
                      </a:lnTo>
                      <a:lnTo>
                        <a:pt x="202" y="80"/>
                      </a:lnTo>
                      <a:lnTo>
                        <a:pt x="202" y="71"/>
                      </a:lnTo>
                      <a:lnTo>
                        <a:pt x="211" y="80"/>
                      </a:lnTo>
                      <a:lnTo>
                        <a:pt x="211" y="71"/>
                      </a:lnTo>
                      <a:lnTo>
                        <a:pt x="211" y="71"/>
                      </a:lnTo>
                      <a:lnTo>
                        <a:pt x="202" y="71"/>
                      </a:lnTo>
                      <a:lnTo>
                        <a:pt x="202" y="62"/>
                      </a:lnTo>
                      <a:lnTo>
                        <a:pt x="202" y="62"/>
                      </a:lnTo>
                      <a:lnTo>
                        <a:pt x="193" y="71"/>
                      </a:lnTo>
                      <a:lnTo>
                        <a:pt x="193" y="71"/>
                      </a:lnTo>
                      <a:lnTo>
                        <a:pt x="193" y="62"/>
                      </a:lnTo>
                      <a:lnTo>
                        <a:pt x="202" y="62"/>
                      </a:lnTo>
                      <a:lnTo>
                        <a:pt x="202" y="62"/>
                      </a:lnTo>
                      <a:lnTo>
                        <a:pt x="202" y="53"/>
                      </a:lnTo>
                      <a:lnTo>
                        <a:pt x="202" y="53"/>
                      </a:lnTo>
                      <a:lnTo>
                        <a:pt x="202" y="53"/>
                      </a:lnTo>
                      <a:lnTo>
                        <a:pt x="202" y="53"/>
                      </a:lnTo>
                      <a:lnTo>
                        <a:pt x="193" y="53"/>
                      </a:lnTo>
                      <a:lnTo>
                        <a:pt x="202" y="36"/>
                      </a:lnTo>
                      <a:lnTo>
                        <a:pt x="202" y="27"/>
                      </a:lnTo>
                      <a:lnTo>
                        <a:pt x="211" y="27"/>
                      </a:lnTo>
                      <a:lnTo>
                        <a:pt x="211" y="27"/>
                      </a:lnTo>
                      <a:lnTo>
                        <a:pt x="211" y="27"/>
                      </a:lnTo>
                      <a:lnTo>
                        <a:pt x="211" y="18"/>
                      </a:lnTo>
                      <a:lnTo>
                        <a:pt x="211" y="18"/>
                      </a:lnTo>
                      <a:lnTo>
                        <a:pt x="211" y="18"/>
                      </a:lnTo>
                      <a:lnTo>
                        <a:pt x="211" y="9"/>
                      </a:lnTo>
                      <a:lnTo>
                        <a:pt x="202" y="18"/>
                      </a:lnTo>
                      <a:lnTo>
                        <a:pt x="202" y="18"/>
                      </a:lnTo>
                      <a:lnTo>
                        <a:pt x="202" y="18"/>
                      </a:lnTo>
                      <a:lnTo>
                        <a:pt x="202" y="27"/>
                      </a:lnTo>
                      <a:lnTo>
                        <a:pt x="202" y="27"/>
                      </a:lnTo>
                      <a:lnTo>
                        <a:pt x="193" y="27"/>
                      </a:lnTo>
                      <a:lnTo>
                        <a:pt x="193" y="27"/>
                      </a:lnTo>
                      <a:lnTo>
                        <a:pt x="193" y="27"/>
                      </a:lnTo>
                      <a:lnTo>
                        <a:pt x="193" y="36"/>
                      </a:lnTo>
                      <a:lnTo>
                        <a:pt x="185" y="27"/>
                      </a:lnTo>
                      <a:lnTo>
                        <a:pt x="185" y="36"/>
                      </a:lnTo>
                      <a:lnTo>
                        <a:pt x="185" y="36"/>
                      </a:lnTo>
                      <a:lnTo>
                        <a:pt x="185" y="44"/>
                      </a:lnTo>
                      <a:lnTo>
                        <a:pt x="185" y="44"/>
                      </a:lnTo>
                      <a:lnTo>
                        <a:pt x="185" y="44"/>
                      </a:lnTo>
                      <a:lnTo>
                        <a:pt x="185" y="44"/>
                      </a:lnTo>
                      <a:lnTo>
                        <a:pt x="185" y="44"/>
                      </a:lnTo>
                      <a:lnTo>
                        <a:pt x="176" y="44"/>
                      </a:lnTo>
                      <a:lnTo>
                        <a:pt x="185" y="53"/>
                      </a:lnTo>
                      <a:lnTo>
                        <a:pt x="185" y="62"/>
                      </a:lnTo>
                      <a:lnTo>
                        <a:pt x="193" y="62"/>
                      </a:lnTo>
                      <a:lnTo>
                        <a:pt x="193" y="62"/>
                      </a:lnTo>
                      <a:lnTo>
                        <a:pt x="185" y="62"/>
                      </a:lnTo>
                      <a:lnTo>
                        <a:pt x="185" y="62"/>
                      </a:lnTo>
                      <a:lnTo>
                        <a:pt x="185" y="62"/>
                      </a:lnTo>
                      <a:lnTo>
                        <a:pt x="185" y="71"/>
                      </a:lnTo>
                      <a:lnTo>
                        <a:pt x="185" y="80"/>
                      </a:lnTo>
                      <a:lnTo>
                        <a:pt x="185" y="89"/>
                      </a:lnTo>
                      <a:lnTo>
                        <a:pt x="193" y="89"/>
                      </a:lnTo>
                      <a:lnTo>
                        <a:pt x="193" y="97"/>
                      </a:lnTo>
                      <a:lnTo>
                        <a:pt x="202" y="115"/>
                      </a:lnTo>
                      <a:lnTo>
                        <a:pt x="202" y="115"/>
                      </a:lnTo>
                      <a:lnTo>
                        <a:pt x="193" y="115"/>
                      </a:lnTo>
                      <a:lnTo>
                        <a:pt x="193" y="115"/>
                      </a:lnTo>
                      <a:lnTo>
                        <a:pt x="185" y="106"/>
                      </a:lnTo>
                      <a:lnTo>
                        <a:pt x="185" y="97"/>
                      </a:lnTo>
                      <a:lnTo>
                        <a:pt x="185" y="89"/>
                      </a:lnTo>
                      <a:lnTo>
                        <a:pt x="185" y="97"/>
                      </a:lnTo>
                      <a:lnTo>
                        <a:pt x="185" y="106"/>
                      </a:lnTo>
                      <a:lnTo>
                        <a:pt x="185" y="106"/>
                      </a:lnTo>
                      <a:lnTo>
                        <a:pt x="193" y="115"/>
                      </a:lnTo>
                      <a:lnTo>
                        <a:pt x="202" y="115"/>
                      </a:lnTo>
                      <a:lnTo>
                        <a:pt x="202" y="124"/>
                      </a:lnTo>
                      <a:lnTo>
                        <a:pt x="211" y="133"/>
                      </a:lnTo>
                      <a:lnTo>
                        <a:pt x="211" y="133"/>
                      </a:lnTo>
                      <a:lnTo>
                        <a:pt x="202" y="133"/>
                      </a:lnTo>
                      <a:lnTo>
                        <a:pt x="202" y="133"/>
                      </a:lnTo>
                      <a:lnTo>
                        <a:pt x="202" y="133"/>
                      </a:lnTo>
                      <a:lnTo>
                        <a:pt x="193" y="124"/>
                      </a:lnTo>
                      <a:lnTo>
                        <a:pt x="185" y="124"/>
                      </a:lnTo>
                      <a:lnTo>
                        <a:pt x="185" y="124"/>
                      </a:lnTo>
                      <a:lnTo>
                        <a:pt x="176" y="124"/>
                      </a:lnTo>
                      <a:lnTo>
                        <a:pt x="176" y="115"/>
                      </a:lnTo>
                      <a:lnTo>
                        <a:pt x="176" y="124"/>
                      </a:lnTo>
                      <a:lnTo>
                        <a:pt x="176" y="124"/>
                      </a:lnTo>
                      <a:lnTo>
                        <a:pt x="167" y="124"/>
                      </a:lnTo>
                      <a:lnTo>
                        <a:pt x="167" y="115"/>
                      </a:lnTo>
                      <a:lnTo>
                        <a:pt x="167" y="115"/>
                      </a:lnTo>
                      <a:lnTo>
                        <a:pt x="158" y="115"/>
                      </a:lnTo>
                      <a:lnTo>
                        <a:pt x="158" y="115"/>
                      </a:lnTo>
                      <a:lnTo>
                        <a:pt x="158" y="124"/>
                      </a:lnTo>
                      <a:lnTo>
                        <a:pt x="149" y="115"/>
                      </a:lnTo>
                      <a:lnTo>
                        <a:pt x="149" y="115"/>
                      </a:lnTo>
                      <a:lnTo>
                        <a:pt x="149" y="106"/>
                      </a:lnTo>
                      <a:lnTo>
                        <a:pt x="149" y="106"/>
                      </a:lnTo>
                      <a:lnTo>
                        <a:pt x="158" y="106"/>
                      </a:lnTo>
                      <a:lnTo>
                        <a:pt x="158" y="97"/>
                      </a:lnTo>
                      <a:lnTo>
                        <a:pt x="158" y="89"/>
                      </a:lnTo>
                      <a:lnTo>
                        <a:pt x="158" y="89"/>
                      </a:lnTo>
                      <a:lnTo>
                        <a:pt x="158" y="80"/>
                      </a:lnTo>
                      <a:lnTo>
                        <a:pt x="158" y="80"/>
                      </a:lnTo>
                      <a:lnTo>
                        <a:pt x="158" y="71"/>
                      </a:lnTo>
                      <a:lnTo>
                        <a:pt x="149" y="80"/>
                      </a:lnTo>
                      <a:lnTo>
                        <a:pt x="149" y="80"/>
                      </a:lnTo>
                      <a:lnTo>
                        <a:pt x="141" y="71"/>
                      </a:lnTo>
                      <a:lnTo>
                        <a:pt x="132" y="71"/>
                      </a:lnTo>
                      <a:lnTo>
                        <a:pt x="132" y="71"/>
                      </a:lnTo>
                      <a:lnTo>
                        <a:pt x="123" y="71"/>
                      </a:lnTo>
                      <a:lnTo>
                        <a:pt x="123" y="62"/>
                      </a:lnTo>
                      <a:lnTo>
                        <a:pt x="123" y="53"/>
                      </a:lnTo>
                      <a:lnTo>
                        <a:pt x="114" y="53"/>
                      </a:lnTo>
                      <a:lnTo>
                        <a:pt x="105" y="53"/>
                      </a:lnTo>
                      <a:lnTo>
                        <a:pt x="105" y="53"/>
                      </a:lnTo>
                      <a:lnTo>
                        <a:pt x="105" y="44"/>
                      </a:lnTo>
                      <a:lnTo>
                        <a:pt x="105" y="44"/>
                      </a:lnTo>
                      <a:lnTo>
                        <a:pt x="97" y="44"/>
                      </a:lnTo>
                      <a:lnTo>
                        <a:pt x="97" y="36"/>
                      </a:lnTo>
                      <a:lnTo>
                        <a:pt x="97" y="36"/>
                      </a:lnTo>
                      <a:lnTo>
                        <a:pt x="88" y="36"/>
                      </a:lnTo>
                      <a:lnTo>
                        <a:pt x="79" y="36"/>
                      </a:lnTo>
                      <a:lnTo>
                        <a:pt x="79" y="27"/>
                      </a:lnTo>
                      <a:lnTo>
                        <a:pt x="70" y="36"/>
                      </a:lnTo>
                      <a:lnTo>
                        <a:pt x="70" y="36"/>
                      </a:lnTo>
                      <a:lnTo>
                        <a:pt x="61" y="36"/>
                      </a:lnTo>
                      <a:lnTo>
                        <a:pt x="61" y="44"/>
                      </a:lnTo>
                      <a:lnTo>
                        <a:pt x="61" y="44"/>
                      </a:lnTo>
                      <a:lnTo>
                        <a:pt x="53" y="44"/>
                      </a:lnTo>
                      <a:lnTo>
                        <a:pt x="44" y="44"/>
                      </a:lnTo>
                      <a:lnTo>
                        <a:pt x="44" y="44"/>
                      </a:lnTo>
                      <a:lnTo>
                        <a:pt x="44" y="44"/>
                      </a:lnTo>
                      <a:lnTo>
                        <a:pt x="44" y="44"/>
                      </a:lnTo>
                      <a:lnTo>
                        <a:pt x="35" y="62"/>
                      </a:lnTo>
                      <a:lnTo>
                        <a:pt x="26" y="53"/>
                      </a:lnTo>
                      <a:lnTo>
                        <a:pt x="26" y="62"/>
                      </a:lnTo>
                      <a:lnTo>
                        <a:pt x="26" y="62"/>
                      </a:lnTo>
                      <a:lnTo>
                        <a:pt x="18" y="71"/>
                      </a:lnTo>
                      <a:lnTo>
                        <a:pt x="18" y="71"/>
                      </a:lnTo>
                      <a:lnTo>
                        <a:pt x="9" y="80"/>
                      </a:lnTo>
                      <a:lnTo>
                        <a:pt x="9" y="89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 w="9525">
                  <a:solidFill>
                    <a:schemeClr val="accent2">
                      <a:lumMod val="75000"/>
                    </a:scheme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kern="0">
                    <a:solidFill>
                      <a:srgbClr val="262626"/>
                    </a:solidFill>
                    <a:latin typeface="Roboto Condensed"/>
                  </a:endParaRPr>
                </a:p>
              </p:txBody>
            </p:sp>
            <p:sp>
              <p:nvSpPr>
                <p:cNvPr id="110" name="Freeform 149"/>
                <p:cNvSpPr>
                  <a:spLocks/>
                </p:cNvSpPr>
                <p:nvPr/>
              </p:nvSpPr>
              <p:spPr bwMode="auto">
                <a:xfrm>
                  <a:off x="5064125" y="2476501"/>
                  <a:ext cx="96838" cy="182563"/>
                </a:xfrm>
                <a:custGeom>
                  <a:avLst/>
                  <a:gdLst/>
                  <a:ahLst/>
                  <a:cxnLst>
                    <a:cxn ang="0">
                      <a:pos x="0" y="18"/>
                    </a:cxn>
                    <a:cxn ang="0">
                      <a:pos x="0" y="9"/>
                    </a:cxn>
                    <a:cxn ang="0">
                      <a:pos x="0" y="9"/>
                    </a:cxn>
                    <a:cxn ang="0">
                      <a:pos x="9" y="0"/>
                    </a:cxn>
                    <a:cxn ang="0">
                      <a:pos x="9" y="0"/>
                    </a:cxn>
                    <a:cxn ang="0">
                      <a:pos x="17" y="0"/>
                    </a:cxn>
                    <a:cxn ang="0">
                      <a:pos x="17" y="9"/>
                    </a:cxn>
                    <a:cxn ang="0">
                      <a:pos x="17" y="9"/>
                    </a:cxn>
                    <a:cxn ang="0">
                      <a:pos x="9" y="9"/>
                    </a:cxn>
                    <a:cxn ang="0">
                      <a:pos x="9" y="18"/>
                    </a:cxn>
                    <a:cxn ang="0">
                      <a:pos x="9" y="18"/>
                    </a:cxn>
                    <a:cxn ang="0">
                      <a:pos x="9" y="27"/>
                    </a:cxn>
                    <a:cxn ang="0">
                      <a:pos x="9" y="27"/>
                    </a:cxn>
                    <a:cxn ang="0">
                      <a:pos x="17" y="36"/>
                    </a:cxn>
                    <a:cxn ang="0">
                      <a:pos x="17" y="45"/>
                    </a:cxn>
                    <a:cxn ang="0">
                      <a:pos x="26" y="45"/>
                    </a:cxn>
                    <a:cxn ang="0">
                      <a:pos x="26" y="54"/>
                    </a:cxn>
                    <a:cxn ang="0">
                      <a:pos x="26" y="54"/>
                    </a:cxn>
                    <a:cxn ang="0">
                      <a:pos x="35" y="62"/>
                    </a:cxn>
                    <a:cxn ang="0">
                      <a:pos x="35" y="71"/>
                    </a:cxn>
                    <a:cxn ang="0">
                      <a:pos x="35" y="71"/>
                    </a:cxn>
                    <a:cxn ang="0">
                      <a:pos x="44" y="80"/>
                    </a:cxn>
                    <a:cxn ang="0">
                      <a:pos x="53" y="80"/>
                    </a:cxn>
                    <a:cxn ang="0">
                      <a:pos x="53" y="80"/>
                    </a:cxn>
                    <a:cxn ang="0">
                      <a:pos x="53" y="89"/>
                    </a:cxn>
                    <a:cxn ang="0">
                      <a:pos x="53" y="89"/>
                    </a:cxn>
                    <a:cxn ang="0">
                      <a:pos x="53" y="89"/>
                    </a:cxn>
                    <a:cxn ang="0">
                      <a:pos x="53" y="98"/>
                    </a:cxn>
                    <a:cxn ang="0">
                      <a:pos x="53" y="98"/>
                    </a:cxn>
                    <a:cxn ang="0">
                      <a:pos x="61" y="98"/>
                    </a:cxn>
                    <a:cxn ang="0">
                      <a:pos x="61" y="107"/>
                    </a:cxn>
                    <a:cxn ang="0">
                      <a:pos x="61" y="107"/>
                    </a:cxn>
                    <a:cxn ang="0">
                      <a:pos x="61" y="107"/>
                    </a:cxn>
                    <a:cxn ang="0">
                      <a:pos x="26" y="115"/>
                    </a:cxn>
                    <a:cxn ang="0">
                      <a:pos x="17" y="107"/>
                    </a:cxn>
                    <a:cxn ang="0">
                      <a:pos x="9" y="71"/>
                    </a:cxn>
                    <a:cxn ang="0">
                      <a:pos x="0" y="18"/>
                    </a:cxn>
                  </a:cxnLst>
                  <a:rect l="0" t="0" r="r" b="b"/>
                  <a:pathLst>
                    <a:path w="61" h="115">
                      <a:moveTo>
                        <a:pt x="0" y="18"/>
                      </a:moveTo>
                      <a:lnTo>
                        <a:pt x="0" y="9"/>
                      </a:lnTo>
                      <a:lnTo>
                        <a:pt x="0" y="9"/>
                      </a:lnTo>
                      <a:lnTo>
                        <a:pt x="9" y="0"/>
                      </a:lnTo>
                      <a:lnTo>
                        <a:pt x="9" y="0"/>
                      </a:lnTo>
                      <a:lnTo>
                        <a:pt x="17" y="0"/>
                      </a:lnTo>
                      <a:lnTo>
                        <a:pt x="17" y="9"/>
                      </a:lnTo>
                      <a:lnTo>
                        <a:pt x="17" y="9"/>
                      </a:lnTo>
                      <a:lnTo>
                        <a:pt x="9" y="9"/>
                      </a:lnTo>
                      <a:lnTo>
                        <a:pt x="9" y="18"/>
                      </a:lnTo>
                      <a:lnTo>
                        <a:pt x="9" y="18"/>
                      </a:lnTo>
                      <a:lnTo>
                        <a:pt x="9" y="27"/>
                      </a:lnTo>
                      <a:lnTo>
                        <a:pt x="9" y="27"/>
                      </a:lnTo>
                      <a:lnTo>
                        <a:pt x="17" y="36"/>
                      </a:lnTo>
                      <a:lnTo>
                        <a:pt x="17" y="45"/>
                      </a:lnTo>
                      <a:lnTo>
                        <a:pt x="26" y="45"/>
                      </a:lnTo>
                      <a:lnTo>
                        <a:pt x="26" y="54"/>
                      </a:lnTo>
                      <a:lnTo>
                        <a:pt x="26" y="54"/>
                      </a:lnTo>
                      <a:lnTo>
                        <a:pt x="35" y="62"/>
                      </a:lnTo>
                      <a:lnTo>
                        <a:pt x="35" y="71"/>
                      </a:lnTo>
                      <a:lnTo>
                        <a:pt x="35" y="71"/>
                      </a:lnTo>
                      <a:lnTo>
                        <a:pt x="44" y="80"/>
                      </a:lnTo>
                      <a:lnTo>
                        <a:pt x="53" y="80"/>
                      </a:lnTo>
                      <a:lnTo>
                        <a:pt x="53" y="80"/>
                      </a:lnTo>
                      <a:lnTo>
                        <a:pt x="53" y="89"/>
                      </a:lnTo>
                      <a:lnTo>
                        <a:pt x="53" y="89"/>
                      </a:lnTo>
                      <a:lnTo>
                        <a:pt x="53" y="89"/>
                      </a:lnTo>
                      <a:lnTo>
                        <a:pt x="53" y="98"/>
                      </a:lnTo>
                      <a:lnTo>
                        <a:pt x="53" y="98"/>
                      </a:lnTo>
                      <a:lnTo>
                        <a:pt x="61" y="98"/>
                      </a:lnTo>
                      <a:lnTo>
                        <a:pt x="61" y="107"/>
                      </a:lnTo>
                      <a:lnTo>
                        <a:pt x="61" y="107"/>
                      </a:lnTo>
                      <a:lnTo>
                        <a:pt x="61" y="107"/>
                      </a:lnTo>
                      <a:lnTo>
                        <a:pt x="26" y="115"/>
                      </a:lnTo>
                      <a:lnTo>
                        <a:pt x="17" y="107"/>
                      </a:lnTo>
                      <a:lnTo>
                        <a:pt x="9" y="71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>
                      <a:lumMod val="65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kern="0">
                    <a:solidFill>
                      <a:srgbClr val="262626"/>
                    </a:solidFill>
                    <a:latin typeface="Roboto Condensed"/>
                  </a:endParaRPr>
                </a:p>
              </p:txBody>
            </p:sp>
          </p:grpSp>
          <p:sp>
            <p:nvSpPr>
              <p:cNvPr id="100" name="Freeform 151"/>
              <p:cNvSpPr>
                <a:spLocks/>
              </p:cNvSpPr>
              <p:nvPr/>
            </p:nvSpPr>
            <p:spPr bwMode="auto">
              <a:xfrm>
                <a:off x="4790312" y="2270584"/>
                <a:ext cx="140872" cy="143555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35" y="18"/>
                  </a:cxn>
                  <a:cxn ang="0">
                    <a:pos x="35" y="18"/>
                  </a:cxn>
                  <a:cxn ang="0">
                    <a:pos x="44" y="18"/>
                  </a:cxn>
                  <a:cxn ang="0">
                    <a:pos x="53" y="18"/>
                  </a:cxn>
                  <a:cxn ang="0">
                    <a:pos x="53" y="9"/>
                  </a:cxn>
                  <a:cxn ang="0">
                    <a:pos x="79" y="9"/>
                  </a:cxn>
                  <a:cxn ang="0">
                    <a:pos x="88" y="0"/>
                  </a:cxn>
                  <a:cxn ang="0">
                    <a:pos x="97" y="0"/>
                  </a:cxn>
                  <a:cxn ang="0">
                    <a:pos x="105" y="45"/>
                  </a:cxn>
                  <a:cxn ang="0">
                    <a:pos x="105" y="53"/>
                  </a:cxn>
                  <a:cxn ang="0">
                    <a:pos x="105" y="53"/>
                  </a:cxn>
                  <a:cxn ang="0">
                    <a:pos x="105" y="53"/>
                  </a:cxn>
                  <a:cxn ang="0">
                    <a:pos x="105" y="62"/>
                  </a:cxn>
                  <a:cxn ang="0">
                    <a:pos x="105" y="53"/>
                  </a:cxn>
                  <a:cxn ang="0">
                    <a:pos x="88" y="62"/>
                  </a:cxn>
                  <a:cxn ang="0">
                    <a:pos x="79" y="71"/>
                  </a:cxn>
                  <a:cxn ang="0">
                    <a:pos x="79" y="62"/>
                  </a:cxn>
                  <a:cxn ang="0">
                    <a:pos x="79" y="62"/>
                  </a:cxn>
                  <a:cxn ang="0">
                    <a:pos x="70" y="62"/>
                  </a:cxn>
                  <a:cxn ang="0">
                    <a:pos x="79" y="71"/>
                  </a:cxn>
                  <a:cxn ang="0">
                    <a:pos x="79" y="71"/>
                  </a:cxn>
                  <a:cxn ang="0">
                    <a:pos x="61" y="71"/>
                  </a:cxn>
                  <a:cxn ang="0">
                    <a:pos x="61" y="80"/>
                  </a:cxn>
                  <a:cxn ang="0">
                    <a:pos x="53" y="80"/>
                  </a:cxn>
                  <a:cxn ang="0">
                    <a:pos x="44" y="80"/>
                  </a:cxn>
                  <a:cxn ang="0">
                    <a:pos x="44" y="80"/>
                  </a:cxn>
                  <a:cxn ang="0">
                    <a:pos x="35" y="89"/>
                  </a:cxn>
                  <a:cxn ang="0">
                    <a:pos x="35" y="89"/>
                  </a:cxn>
                  <a:cxn ang="0">
                    <a:pos x="26" y="98"/>
                  </a:cxn>
                  <a:cxn ang="0">
                    <a:pos x="26" y="98"/>
                  </a:cxn>
                  <a:cxn ang="0">
                    <a:pos x="17" y="107"/>
                  </a:cxn>
                  <a:cxn ang="0">
                    <a:pos x="9" y="107"/>
                  </a:cxn>
                  <a:cxn ang="0">
                    <a:pos x="0" y="107"/>
                  </a:cxn>
                  <a:cxn ang="0">
                    <a:pos x="0" y="98"/>
                  </a:cxn>
                  <a:cxn ang="0">
                    <a:pos x="9" y="89"/>
                  </a:cxn>
                  <a:cxn ang="0">
                    <a:pos x="9" y="89"/>
                  </a:cxn>
                  <a:cxn ang="0">
                    <a:pos x="9" y="80"/>
                  </a:cxn>
                  <a:cxn ang="0">
                    <a:pos x="0" y="27"/>
                  </a:cxn>
                </a:cxnLst>
                <a:rect l="0" t="0" r="r" b="b"/>
                <a:pathLst>
                  <a:path w="105" h="107">
                    <a:moveTo>
                      <a:pt x="0" y="27"/>
                    </a:moveTo>
                    <a:lnTo>
                      <a:pt x="35" y="18"/>
                    </a:lnTo>
                    <a:lnTo>
                      <a:pt x="35" y="18"/>
                    </a:lnTo>
                    <a:lnTo>
                      <a:pt x="44" y="18"/>
                    </a:lnTo>
                    <a:lnTo>
                      <a:pt x="53" y="18"/>
                    </a:lnTo>
                    <a:lnTo>
                      <a:pt x="53" y="9"/>
                    </a:lnTo>
                    <a:lnTo>
                      <a:pt x="79" y="9"/>
                    </a:lnTo>
                    <a:lnTo>
                      <a:pt x="88" y="0"/>
                    </a:lnTo>
                    <a:lnTo>
                      <a:pt x="97" y="0"/>
                    </a:lnTo>
                    <a:lnTo>
                      <a:pt x="105" y="45"/>
                    </a:lnTo>
                    <a:lnTo>
                      <a:pt x="105" y="53"/>
                    </a:lnTo>
                    <a:lnTo>
                      <a:pt x="105" y="53"/>
                    </a:lnTo>
                    <a:lnTo>
                      <a:pt x="105" y="53"/>
                    </a:lnTo>
                    <a:lnTo>
                      <a:pt x="105" y="62"/>
                    </a:lnTo>
                    <a:lnTo>
                      <a:pt x="105" y="53"/>
                    </a:lnTo>
                    <a:lnTo>
                      <a:pt x="88" y="62"/>
                    </a:lnTo>
                    <a:lnTo>
                      <a:pt x="79" y="71"/>
                    </a:lnTo>
                    <a:lnTo>
                      <a:pt x="79" y="62"/>
                    </a:lnTo>
                    <a:lnTo>
                      <a:pt x="79" y="62"/>
                    </a:lnTo>
                    <a:lnTo>
                      <a:pt x="70" y="62"/>
                    </a:lnTo>
                    <a:lnTo>
                      <a:pt x="79" y="71"/>
                    </a:lnTo>
                    <a:lnTo>
                      <a:pt x="79" y="71"/>
                    </a:lnTo>
                    <a:lnTo>
                      <a:pt x="61" y="71"/>
                    </a:lnTo>
                    <a:lnTo>
                      <a:pt x="61" y="80"/>
                    </a:lnTo>
                    <a:lnTo>
                      <a:pt x="53" y="80"/>
                    </a:lnTo>
                    <a:lnTo>
                      <a:pt x="44" y="80"/>
                    </a:lnTo>
                    <a:lnTo>
                      <a:pt x="44" y="80"/>
                    </a:lnTo>
                    <a:lnTo>
                      <a:pt x="35" y="89"/>
                    </a:lnTo>
                    <a:lnTo>
                      <a:pt x="35" y="89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17" y="107"/>
                    </a:lnTo>
                    <a:lnTo>
                      <a:pt x="9" y="107"/>
                    </a:lnTo>
                    <a:lnTo>
                      <a:pt x="0" y="107"/>
                    </a:lnTo>
                    <a:lnTo>
                      <a:pt x="0" y="98"/>
                    </a:lnTo>
                    <a:lnTo>
                      <a:pt x="9" y="89"/>
                    </a:lnTo>
                    <a:lnTo>
                      <a:pt x="9" y="89"/>
                    </a:lnTo>
                    <a:lnTo>
                      <a:pt x="9" y="80"/>
                    </a:lnTo>
                    <a:lnTo>
                      <a:pt x="0" y="27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01" name="Freeform 157"/>
              <p:cNvSpPr>
                <a:spLocks/>
              </p:cNvSpPr>
              <p:nvPr/>
            </p:nvSpPr>
            <p:spPr bwMode="auto">
              <a:xfrm>
                <a:off x="1402692" y="2946766"/>
                <a:ext cx="566169" cy="665449"/>
              </a:xfrm>
              <a:custGeom>
                <a:avLst/>
                <a:gdLst/>
                <a:ahLst/>
                <a:cxnLst>
                  <a:cxn ang="0">
                    <a:pos x="9" y="328"/>
                  </a:cxn>
                  <a:cxn ang="0">
                    <a:pos x="17" y="328"/>
                  </a:cxn>
                  <a:cxn ang="0">
                    <a:pos x="26" y="319"/>
                  </a:cxn>
                  <a:cxn ang="0">
                    <a:pos x="26" y="310"/>
                  </a:cxn>
                  <a:cxn ang="0">
                    <a:pos x="26" y="301"/>
                  </a:cxn>
                  <a:cxn ang="0">
                    <a:pos x="17" y="292"/>
                  </a:cxn>
                  <a:cxn ang="0">
                    <a:pos x="17" y="283"/>
                  </a:cxn>
                  <a:cxn ang="0">
                    <a:pos x="17" y="275"/>
                  </a:cxn>
                  <a:cxn ang="0">
                    <a:pos x="35" y="257"/>
                  </a:cxn>
                  <a:cxn ang="0">
                    <a:pos x="35" y="248"/>
                  </a:cxn>
                  <a:cxn ang="0">
                    <a:pos x="44" y="230"/>
                  </a:cxn>
                  <a:cxn ang="0">
                    <a:pos x="53" y="221"/>
                  </a:cxn>
                  <a:cxn ang="0">
                    <a:pos x="70" y="204"/>
                  </a:cxn>
                  <a:cxn ang="0">
                    <a:pos x="53" y="195"/>
                  </a:cxn>
                  <a:cxn ang="0">
                    <a:pos x="53" y="177"/>
                  </a:cxn>
                  <a:cxn ang="0">
                    <a:pos x="53" y="168"/>
                  </a:cxn>
                  <a:cxn ang="0">
                    <a:pos x="44" y="151"/>
                  </a:cxn>
                  <a:cxn ang="0">
                    <a:pos x="53" y="133"/>
                  </a:cxn>
                  <a:cxn ang="0">
                    <a:pos x="53" y="124"/>
                  </a:cxn>
                  <a:cxn ang="0">
                    <a:pos x="53" y="107"/>
                  </a:cxn>
                  <a:cxn ang="0">
                    <a:pos x="53" y="89"/>
                  </a:cxn>
                  <a:cxn ang="0">
                    <a:pos x="61" y="80"/>
                  </a:cxn>
                  <a:cxn ang="0">
                    <a:pos x="61" y="62"/>
                  </a:cxn>
                  <a:cxn ang="0">
                    <a:pos x="70" y="53"/>
                  </a:cxn>
                  <a:cxn ang="0">
                    <a:pos x="79" y="62"/>
                  </a:cxn>
                  <a:cxn ang="0">
                    <a:pos x="88" y="71"/>
                  </a:cxn>
                  <a:cxn ang="0">
                    <a:pos x="96" y="62"/>
                  </a:cxn>
                  <a:cxn ang="0">
                    <a:pos x="114" y="0"/>
                  </a:cxn>
                  <a:cxn ang="0">
                    <a:pos x="255" y="18"/>
                  </a:cxn>
                  <a:cxn ang="0">
                    <a:pos x="422" y="45"/>
                  </a:cxn>
                  <a:cxn ang="0">
                    <a:pos x="360" y="496"/>
                  </a:cxn>
                  <a:cxn ang="0">
                    <a:pos x="228" y="478"/>
                  </a:cxn>
                  <a:cxn ang="0">
                    <a:pos x="17" y="354"/>
                  </a:cxn>
                  <a:cxn ang="0">
                    <a:pos x="0" y="336"/>
                  </a:cxn>
                </a:cxnLst>
                <a:rect l="0" t="0" r="r" b="b"/>
                <a:pathLst>
                  <a:path w="422" h="496">
                    <a:moveTo>
                      <a:pt x="9" y="328"/>
                    </a:moveTo>
                    <a:lnTo>
                      <a:pt x="9" y="328"/>
                    </a:lnTo>
                    <a:lnTo>
                      <a:pt x="17" y="328"/>
                    </a:lnTo>
                    <a:lnTo>
                      <a:pt x="17" y="328"/>
                    </a:lnTo>
                    <a:lnTo>
                      <a:pt x="17" y="328"/>
                    </a:lnTo>
                    <a:lnTo>
                      <a:pt x="26" y="319"/>
                    </a:lnTo>
                    <a:lnTo>
                      <a:pt x="26" y="319"/>
                    </a:lnTo>
                    <a:lnTo>
                      <a:pt x="26" y="310"/>
                    </a:lnTo>
                    <a:lnTo>
                      <a:pt x="26" y="301"/>
                    </a:lnTo>
                    <a:lnTo>
                      <a:pt x="26" y="301"/>
                    </a:lnTo>
                    <a:lnTo>
                      <a:pt x="17" y="301"/>
                    </a:lnTo>
                    <a:lnTo>
                      <a:pt x="17" y="292"/>
                    </a:lnTo>
                    <a:lnTo>
                      <a:pt x="17" y="292"/>
                    </a:lnTo>
                    <a:lnTo>
                      <a:pt x="17" y="283"/>
                    </a:lnTo>
                    <a:lnTo>
                      <a:pt x="17" y="283"/>
                    </a:lnTo>
                    <a:lnTo>
                      <a:pt x="17" y="275"/>
                    </a:lnTo>
                    <a:lnTo>
                      <a:pt x="26" y="275"/>
                    </a:lnTo>
                    <a:lnTo>
                      <a:pt x="35" y="257"/>
                    </a:lnTo>
                    <a:lnTo>
                      <a:pt x="35" y="257"/>
                    </a:lnTo>
                    <a:lnTo>
                      <a:pt x="35" y="248"/>
                    </a:lnTo>
                    <a:lnTo>
                      <a:pt x="35" y="239"/>
                    </a:lnTo>
                    <a:lnTo>
                      <a:pt x="44" y="230"/>
                    </a:lnTo>
                    <a:lnTo>
                      <a:pt x="44" y="230"/>
                    </a:lnTo>
                    <a:lnTo>
                      <a:pt x="53" y="221"/>
                    </a:lnTo>
                    <a:lnTo>
                      <a:pt x="61" y="213"/>
                    </a:lnTo>
                    <a:lnTo>
                      <a:pt x="70" y="204"/>
                    </a:lnTo>
                    <a:lnTo>
                      <a:pt x="70" y="204"/>
                    </a:lnTo>
                    <a:lnTo>
                      <a:pt x="53" y="195"/>
                    </a:lnTo>
                    <a:lnTo>
                      <a:pt x="61" y="186"/>
                    </a:lnTo>
                    <a:lnTo>
                      <a:pt x="53" y="177"/>
                    </a:lnTo>
                    <a:lnTo>
                      <a:pt x="53" y="177"/>
                    </a:lnTo>
                    <a:lnTo>
                      <a:pt x="53" y="168"/>
                    </a:lnTo>
                    <a:lnTo>
                      <a:pt x="44" y="160"/>
                    </a:lnTo>
                    <a:lnTo>
                      <a:pt x="44" y="151"/>
                    </a:lnTo>
                    <a:lnTo>
                      <a:pt x="44" y="151"/>
                    </a:lnTo>
                    <a:lnTo>
                      <a:pt x="53" y="133"/>
                    </a:lnTo>
                    <a:lnTo>
                      <a:pt x="53" y="133"/>
                    </a:lnTo>
                    <a:lnTo>
                      <a:pt x="53" y="124"/>
                    </a:lnTo>
                    <a:lnTo>
                      <a:pt x="53" y="115"/>
                    </a:lnTo>
                    <a:lnTo>
                      <a:pt x="53" y="107"/>
                    </a:lnTo>
                    <a:lnTo>
                      <a:pt x="53" y="98"/>
                    </a:lnTo>
                    <a:lnTo>
                      <a:pt x="53" y="89"/>
                    </a:lnTo>
                    <a:lnTo>
                      <a:pt x="53" y="80"/>
                    </a:lnTo>
                    <a:lnTo>
                      <a:pt x="61" y="80"/>
                    </a:lnTo>
                    <a:lnTo>
                      <a:pt x="53" y="71"/>
                    </a:lnTo>
                    <a:lnTo>
                      <a:pt x="61" y="62"/>
                    </a:lnTo>
                    <a:lnTo>
                      <a:pt x="61" y="62"/>
                    </a:lnTo>
                    <a:lnTo>
                      <a:pt x="70" y="53"/>
                    </a:lnTo>
                    <a:lnTo>
                      <a:pt x="70" y="62"/>
                    </a:lnTo>
                    <a:lnTo>
                      <a:pt x="79" y="62"/>
                    </a:lnTo>
                    <a:lnTo>
                      <a:pt x="79" y="62"/>
                    </a:lnTo>
                    <a:lnTo>
                      <a:pt x="88" y="71"/>
                    </a:lnTo>
                    <a:lnTo>
                      <a:pt x="88" y="71"/>
                    </a:lnTo>
                    <a:lnTo>
                      <a:pt x="96" y="62"/>
                    </a:lnTo>
                    <a:lnTo>
                      <a:pt x="105" y="62"/>
                    </a:lnTo>
                    <a:lnTo>
                      <a:pt x="114" y="0"/>
                    </a:lnTo>
                    <a:lnTo>
                      <a:pt x="167" y="9"/>
                    </a:lnTo>
                    <a:lnTo>
                      <a:pt x="255" y="18"/>
                    </a:lnTo>
                    <a:lnTo>
                      <a:pt x="334" y="36"/>
                    </a:lnTo>
                    <a:lnTo>
                      <a:pt x="422" y="45"/>
                    </a:lnTo>
                    <a:lnTo>
                      <a:pt x="360" y="487"/>
                    </a:lnTo>
                    <a:lnTo>
                      <a:pt x="360" y="496"/>
                    </a:lnTo>
                    <a:lnTo>
                      <a:pt x="334" y="487"/>
                    </a:lnTo>
                    <a:lnTo>
                      <a:pt x="228" y="478"/>
                    </a:lnTo>
                    <a:lnTo>
                      <a:pt x="149" y="425"/>
                    </a:lnTo>
                    <a:lnTo>
                      <a:pt x="17" y="354"/>
                    </a:lnTo>
                    <a:lnTo>
                      <a:pt x="0" y="336"/>
                    </a:lnTo>
                    <a:lnTo>
                      <a:pt x="0" y="336"/>
                    </a:lnTo>
                    <a:lnTo>
                      <a:pt x="9" y="328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02" name="Freeform 158"/>
              <p:cNvSpPr>
                <a:spLocks/>
              </p:cNvSpPr>
              <p:nvPr/>
            </p:nvSpPr>
            <p:spPr bwMode="auto">
              <a:xfrm>
                <a:off x="1402692" y="2946766"/>
                <a:ext cx="566169" cy="665449"/>
              </a:xfrm>
              <a:custGeom>
                <a:avLst/>
                <a:gdLst/>
                <a:ahLst/>
                <a:cxnLst>
                  <a:cxn ang="0">
                    <a:pos x="9" y="328"/>
                  </a:cxn>
                  <a:cxn ang="0">
                    <a:pos x="17" y="328"/>
                  </a:cxn>
                  <a:cxn ang="0">
                    <a:pos x="26" y="319"/>
                  </a:cxn>
                  <a:cxn ang="0">
                    <a:pos x="26" y="310"/>
                  </a:cxn>
                  <a:cxn ang="0">
                    <a:pos x="26" y="301"/>
                  </a:cxn>
                  <a:cxn ang="0">
                    <a:pos x="17" y="292"/>
                  </a:cxn>
                  <a:cxn ang="0">
                    <a:pos x="17" y="283"/>
                  </a:cxn>
                  <a:cxn ang="0">
                    <a:pos x="17" y="275"/>
                  </a:cxn>
                  <a:cxn ang="0">
                    <a:pos x="35" y="257"/>
                  </a:cxn>
                  <a:cxn ang="0">
                    <a:pos x="35" y="248"/>
                  </a:cxn>
                  <a:cxn ang="0">
                    <a:pos x="44" y="230"/>
                  </a:cxn>
                  <a:cxn ang="0">
                    <a:pos x="53" y="221"/>
                  </a:cxn>
                  <a:cxn ang="0">
                    <a:pos x="70" y="204"/>
                  </a:cxn>
                  <a:cxn ang="0">
                    <a:pos x="53" y="195"/>
                  </a:cxn>
                  <a:cxn ang="0">
                    <a:pos x="53" y="177"/>
                  </a:cxn>
                  <a:cxn ang="0">
                    <a:pos x="53" y="168"/>
                  </a:cxn>
                  <a:cxn ang="0">
                    <a:pos x="44" y="151"/>
                  </a:cxn>
                  <a:cxn ang="0">
                    <a:pos x="53" y="133"/>
                  </a:cxn>
                  <a:cxn ang="0">
                    <a:pos x="53" y="124"/>
                  </a:cxn>
                  <a:cxn ang="0">
                    <a:pos x="53" y="107"/>
                  </a:cxn>
                  <a:cxn ang="0">
                    <a:pos x="53" y="89"/>
                  </a:cxn>
                  <a:cxn ang="0">
                    <a:pos x="61" y="80"/>
                  </a:cxn>
                  <a:cxn ang="0">
                    <a:pos x="61" y="62"/>
                  </a:cxn>
                  <a:cxn ang="0">
                    <a:pos x="70" y="53"/>
                  </a:cxn>
                  <a:cxn ang="0">
                    <a:pos x="79" y="62"/>
                  </a:cxn>
                  <a:cxn ang="0">
                    <a:pos x="88" y="71"/>
                  </a:cxn>
                  <a:cxn ang="0">
                    <a:pos x="96" y="62"/>
                  </a:cxn>
                  <a:cxn ang="0">
                    <a:pos x="114" y="0"/>
                  </a:cxn>
                  <a:cxn ang="0">
                    <a:pos x="255" y="18"/>
                  </a:cxn>
                  <a:cxn ang="0">
                    <a:pos x="422" y="45"/>
                  </a:cxn>
                  <a:cxn ang="0">
                    <a:pos x="360" y="496"/>
                  </a:cxn>
                  <a:cxn ang="0">
                    <a:pos x="228" y="478"/>
                  </a:cxn>
                  <a:cxn ang="0">
                    <a:pos x="17" y="354"/>
                  </a:cxn>
                  <a:cxn ang="0">
                    <a:pos x="0" y="336"/>
                  </a:cxn>
                </a:cxnLst>
                <a:rect l="0" t="0" r="r" b="b"/>
                <a:pathLst>
                  <a:path w="422" h="496">
                    <a:moveTo>
                      <a:pt x="9" y="328"/>
                    </a:moveTo>
                    <a:lnTo>
                      <a:pt x="9" y="328"/>
                    </a:lnTo>
                    <a:lnTo>
                      <a:pt x="17" y="328"/>
                    </a:lnTo>
                    <a:lnTo>
                      <a:pt x="17" y="328"/>
                    </a:lnTo>
                    <a:lnTo>
                      <a:pt x="17" y="328"/>
                    </a:lnTo>
                    <a:lnTo>
                      <a:pt x="26" y="319"/>
                    </a:lnTo>
                    <a:lnTo>
                      <a:pt x="26" y="319"/>
                    </a:lnTo>
                    <a:lnTo>
                      <a:pt x="26" y="310"/>
                    </a:lnTo>
                    <a:lnTo>
                      <a:pt x="26" y="301"/>
                    </a:lnTo>
                    <a:lnTo>
                      <a:pt x="26" y="301"/>
                    </a:lnTo>
                    <a:lnTo>
                      <a:pt x="17" y="301"/>
                    </a:lnTo>
                    <a:lnTo>
                      <a:pt x="17" y="292"/>
                    </a:lnTo>
                    <a:lnTo>
                      <a:pt x="17" y="292"/>
                    </a:lnTo>
                    <a:lnTo>
                      <a:pt x="17" y="283"/>
                    </a:lnTo>
                    <a:lnTo>
                      <a:pt x="17" y="283"/>
                    </a:lnTo>
                    <a:lnTo>
                      <a:pt x="17" y="275"/>
                    </a:lnTo>
                    <a:lnTo>
                      <a:pt x="26" y="275"/>
                    </a:lnTo>
                    <a:lnTo>
                      <a:pt x="35" y="257"/>
                    </a:lnTo>
                    <a:lnTo>
                      <a:pt x="35" y="257"/>
                    </a:lnTo>
                    <a:lnTo>
                      <a:pt x="35" y="248"/>
                    </a:lnTo>
                    <a:lnTo>
                      <a:pt x="35" y="239"/>
                    </a:lnTo>
                    <a:lnTo>
                      <a:pt x="44" y="230"/>
                    </a:lnTo>
                    <a:lnTo>
                      <a:pt x="44" y="230"/>
                    </a:lnTo>
                    <a:lnTo>
                      <a:pt x="53" y="221"/>
                    </a:lnTo>
                    <a:lnTo>
                      <a:pt x="61" y="213"/>
                    </a:lnTo>
                    <a:lnTo>
                      <a:pt x="70" y="204"/>
                    </a:lnTo>
                    <a:lnTo>
                      <a:pt x="70" y="204"/>
                    </a:lnTo>
                    <a:lnTo>
                      <a:pt x="53" y="195"/>
                    </a:lnTo>
                    <a:lnTo>
                      <a:pt x="61" y="186"/>
                    </a:lnTo>
                    <a:lnTo>
                      <a:pt x="53" y="177"/>
                    </a:lnTo>
                    <a:lnTo>
                      <a:pt x="53" y="177"/>
                    </a:lnTo>
                    <a:lnTo>
                      <a:pt x="53" y="168"/>
                    </a:lnTo>
                    <a:lnTo>
                      <a:pt x="44" y="160"/>
                    </a:lnTo>
                    <a:lnTo>
                      <a:pt x="44" y="151"/>
                    </a:lnTo>
                    <a:lnTo>
                      <a:pt x="44" y="151"/>
                    </a:lnTo>
                    <a:lnTo>
                      <a:pt x="53" y="133"/>
                    </a:lnTo>
                    <a:lnTo>
                      <a:pt x="53" y="133"/>
                    </a:lnTo>
                    <a:lnTo>
                      <a:pt x="53" y="124"/>
                    </a:lnTo>
                    <a:lnTo>
                      <a:pt x="53" y="115"/>
                    </a:lnTo>
                    <a:lnTo>
                      <a:pt x="53" y="107"/>
                    </a:lnTo>
                    <a:lnTo>
                      <a:pt x="53" y="98"/>
                    </a:lnTo>
                    <a:lnTo>
                      <a:pt x="53" y="89"/>
                    </a:lnTo>
                    <a:lnTo>
                      <a:pt x="53" y="80"/>
                    </a:lnTo>
                    <a:lnTo>
                      <a:pt x="61" y="80"/>
                    </a:lnTo>
                    <a:lnTo>
                      <a:pt x="53" y="71"/>
                    </a:lnTo>
                    <a:lnTo>
                      <a:pt x="61" y="62"/>
                    </a:lnTo>
                    <a:lnTo>
                      <a:pt x="61" y="62"/>
                    </a:lnTo>
                    <a:lnTo>
                      <a:pt x="70" y="53"/>
                    </a:lnTo>
                    <a:lnTo>
                      <a:pt x="70" y="62"/>
                    </a:lnTo>
                    <a:lnTo>
                      <a:pt x="79" y="62"/>
                    </a:lnTo>
                    <a:lnTo>
                      <a:pt x="79" y="62"/>
                    </a:lnTo>
                    <a:lnTo>
                      <a:pt x="88" y="71"/>
                    </a:lnTo>
                    <a:lnTo>
                      <a:pt x="88" y="71"/>
                    </a:lnTo>
                    <a:lnTo>
                      <a:pt x="96" y="62"/>
                    </a:lnTo>
                    <a:lnTo>
                      <a:pt x="105" y="62"/>
                    </a:lnTo>
                    <a:lnTo>
                      <a:pt x="114" y="0"/>
                    </a:lnTo>
                    <a:lnTo>
                      <a:pt x="167" y="9"/>
                    </a:lnTo>
                    <a:lnTo>
                      <a:pt x="255" y="18"/>
                    </a:lnTo>
                    <a:lnTo>
                      <a:pt x="334" y="36"/>
                    </a:lnTo>
                    <a:lnTo>
                      <a:pt x="422" y="45"/>
                    </a:lnTo>
                    <a:lnTo>
                      <a:pt x="360" y="487"/>
                    </a:lnTo>
                    <a:lnTo>
                      <a:pt x="360" y="496"/>
                    </a:lnTo>
                    <a:lnTo>
                      <a:pt x="334" y="487"/>
                    </a:lnTo>
                    <a:lnTo>
                      <a:pt x="228" y="478"/>
                    </a:lnTo>
                    <a:lnTo>
                      <a:pt x="149" y="425"/>
                    </a:lnTo>
                    <a:lnTo>
                      <a:pt x="17" y="354"/>
                    </a:lnTo>
                    <a:lnTo>
                      <a:pt x="0" y="336"/>
                    </a:lnTo>
                    <a:lnTo>
                      <a:pt x="0" y="336"/>
                    </a:lnTo>
                    <a:lnTo>
                      <a:pt x="9" y="328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03" name="Freeform 159"/>
              <p:cNvSpPr>
                <a:spLocks/>
              </p:cNvSpPr>
              <p:nvPr/>
            </p:nvSpPr>
            <p:spPr bwMode="auto">
              <a:xfrm>
                <a:off x="3172304" y="3101053"/>
                <a:ext cx="413223" cy="391756"/>
              </a:xfrm>
              <a:custGeom>
                <a:avLst/>
                <a:gdLst/>
                <a:ahLst/>
                <a:cxnLst>
                  <a:cxn ang="0">
                    <a:pos x="62" y="9"/>
                  </a:cxn>
                  <a:cxn ang="0">
                    <a:pos x="273" y="0"/>
                  </a:cxn>
                  <a:cxn ang="0">
                    <a:pos x="282" y="9"/>
                  </a:cxn>
                  <a:cxn ang="0">
                    <a:pos x="282" y="18"/>
                  </a:cxn>
                  <a:cxn ang="0">
                    <a:pos x="273" y="27"/>
                  </a:cxn>
                  <a:cxn ang="0">
                    <a:pos x="273" y="36"/>
                  </a:cxn>
                  <a:cxn ang="0">
                    <a:pos x="308" y="36"/>
                  </a:cxn>
                  <a:cxn ang="0">
                    <a:pos x="308" y="45"/>
                  </a:cxn>
                  <a:cxn ang="0">
                    <a:pos x="308" y="53"/>
                  </a:cxn>
                  <a:cxn ang="0">
                    <a:pos x="300" y="62"/>
                  </a:cxn>
                  <a:cxn ang="0">
                    <a:pos x="300" y="62"/>
                  </a:cxn>
                  <a:cxn ang="0">
                    <a:pos x="300" y="71"/>
                  </a:cxn>
                  <a:cxn ang="0">
                    <a:pos x="291" y="80"/>
                  </a:cxn>
                  <a:cxn ang="0">
                    <a:pos x="291" y="89"/>
                  </a:cxn>
                  <a:cxn ang="0">
                    <a:pos x="282" y="89"/>
                  </a:cxn>
                  <a:cxn ang="0">
                    <a:pos x="291" y="89"/>
                  </a:cxn>
                  <a:cxn ang="0">
                    <a:pos x="291" y="106"/>
                  </a:cxn>
                  <a:cxn ang="0">
                    <a:pos x="282" y="115"/>
                  </a:cxn>
                  <a:cxn ang="0">
                    <a:pos x="273" y="124"/>
                  </a:cxn>
                  <a:cxn ang="0">
                    <a:pos x="282" y="124"/>
                  </a:cxn>
                  <a:cxn ang="0">
                    <a:pos x="273" y="133"/>
                  </a:cxn>
                  <a:cxn ang="0">
                    <a:pos x="264" y="133"/>
                  </a:cxn>
                  <a:cxn ang="0">
                    <a:pos x="264" y="142"/>
                  </a:cxn>
                  <a:cxn ang="0">
                    <a:pos x="264" y="142"/>
                  </a:cxn>
                  <a:cxn ang="0">
                    <a:pos x="264" y="151"/>
                  </a:cxn>
                  <a:cxn ang="0">
                    <a:pos x="264" y="151"/>
                  </a:cxn>
                  <a:cxn ang="0">
                    <a:pos x="264" y="160"/>
                  </a:cxn>
                  <a:cxn ang="0">
                    <a:pos x="256" y="168"/>
                  </a:cxn>
                  <a:cxn ang="0">
                    <a:pos x="256" y="177"/>
                  </a:cxn>
                  <a:cxn ang="0">
                    <a:pos x="247" y="186"/>
                  </a:cxn>
                  <a:cxn ang="0">
                    <a:pos x="238" y="186"/>
                  </a:cxn>
                  <a:cxn ang="0">
                    <a:pos x="247" y="186"/>
                  </a:cxn>
                  <a:cxn ang="0">
                    <a:pos x="247" y="204"/>
                  </a:cxn>
                  <a:cxn ang="0">
                    <a:pos x="238" y="204"/>
                  </a:cxn>
                  <a:cxn ang="0">
                    <a:pos x="238" y="221"/>
                  </a:cxn>
                  <a:cxn ang="0">
                    <a:pos x="229" y="221"/>
                  </a:cxn>
                  <a:cxn ang="0">
                    <a:pos x="238" y="221"/>
                  </a:cxn>
                  <a:cxn ang="0">
                    <a:pos x="229" y="230"/>
                  </a:cxn>
                  <a:cxn ang="0">
                    <a:pos x="229" y="230"/>
                  </a:cxn>
                  <a:cxn ang="0">
                    <a:pos x="229" y="239"/>
                  </a:cxn>
                  <a:cxn ang="0">
                    <a:pos x="229" y="239"/>
                  </a:cxn>
                  <a:cxn ang="0">
                    <a:pos x="229" y="248"/>
                  </a:cxn>
                  <a:cxn ang="0">
                    <a:pos x="229" y="248"/>
                  </a:cxn>
                  <a:cxn ang="0">
                    <a:pos x="229" y="266"/>
                  </a:cxn>
                  <a:cxn ang="0">
                    <a:pos x="238" y="274"/>
                  </a:cxn>
                  <a:cxn ang="0">
                    <a:pos x="229" y="274"/>
                  </a:cxn>
                  <a:cxn ang="0">
                    <a:pos x="229" y="283"/>
                  </a:cxn>
                  <a:cxn ang="0">
                    <a:pos x="44" y="292"/>
                  </a:cxn>
                  <a:cxn ang="0">
                    <a:pos x="27" y="248"/>
                  </a:cxn>
                  <a:cxn ang="0">
                    <a:pos x="18" y="248"/>
                  </a:cxn>
                  <a:cxn ang="0">
                    <a:pos x="9" y="239"/>
                  </a:cxn>
                  <a:cxn ang="0">
                    <a:pos x="9" y="80"/>
                  </a:cxn>
                </a:cxnLst>
                <a:rect l="0" t="0" r="r" b="b"/>
                <a:pathLst>
                  <a:path w="308" h="292">
                    <a:moveTo>
                      <a:pt x="0" y="18"/>
                    </a:moveTo>
                    <a:lnTo>
                      <a:pt x="62" y="9"/>
                    </a:lnTo>
                    <a:lnTo>
                      <a:pt x="159" y="9"/>
                    </a:lnTo>
                    <a:lnTo>
                      <a:pt x="273" y="0"/>
                    </a:lnTo>
                    <a:lnTo>
                      <a:pt x="282" y="0"/>
                    </a:lnTo>
                    <a:lnTo>
                      <a:pt x="282" y="9"/>
                    </a:lnTo>
                    <a:lnTo>
                      <a:pt x="282" y="18"/>
                    </a:lnTo>
                    <a:lnTo>
                      <a:pt x="282" y="18"/>
                    </a:lnTo>
                    <a:lnTo>
                      <a:pt x="282" y="27"/>
                    </a:lnTo>
                    <a:lnTo>
                      <a:pt x="273" y="27"/>
                    </a:lnTo>
                    <a:lnTo>
                      <a:pt x="273" y="36"/>
                    </a:lnTo>
                    <a:lnTo>
                      <a:pt x="273" y="36"/>
                    </a:lnTo>
                    <a:lnTo>
                      <a:pt x="273" y="45"/>
                    </a:lnTo>
                    <a:lnTo>
                      <a:pt x="308" y="36"/>
                    </a:lnTo>
                    <a:lnTo>
                      <a:pt x="308" y="45"/>
                    </a:lnTo>
                    <a:lnTo>
                      <a:pt x="308" y="45"/>
                    </a:lnTo>
                    <a:lnTo>
                      <a:pt x="308" y="45"/>
                    </a:lnTo>
                    <a:lnTo>
                      <a:pt x="308" y="53"/>
                    </a:lnTo>
                    <a:lnTo>
                      <a:pt x="300" y="62"/>
                    </a:lnTo>
                    <a:lnTo>
                      <a:pt x="300" y="62"/>
                    </a:lnTo>
                    <a:lnTo>
                      <a:pt x="300" y="62"/>
                    </a:lnTo>
                    <a:lnTo>
                      <a:pt x="300" y="62"/>
                    </a:lnTo>
                    <a:lnTo>
                      <a:pt x="300" y="71"/>
                    </a:lnTo>
                    <a:lnTo>
                      <a:pt x="300" y="71"/>
                    </a:lnTo>
                    <a:lnTo>
                      <a:pt x="291" y="80"/>
                    </a:lnTo>
                    <a:lnTo>
                      <a:pt x="291" y="80"/>
                    </a:lnTo>
                    <a:lnTo>
                      <a:pt x="291" y="80"/>
                    </a:lnTo>
                    <a:lnTo>
                      <a:pt x="291" y="89"/>
                    </a:lnTo>
                    <a:lnTo>
                      <a:pt x="291" y="80"/>
                    </a:lnTo>
                    <a:lnTo>
                      <a:pt x="282" y="89"/>
                    </a:lnTo>
                    <a:lnTo>
                      <a:pt x="282" y="89"/>
                    </a:lnTo>
                    <a:lnTo>
                      <a:pt x="291" y="89"/>
                    </a:lnTo>
                    <a:lnTo>
                      <a:pt x="291" y="98"/>
                    </a:lnTo>
                    <a:lnTo>
                      <a:pt x="291" y="106"/>
                    </a:lnTo>
                    <a:lnTo>
                      <a:pt x="291" y="106"/>
                    </a:lnTo>
                    <a:lnTo>
                      <a:pt x="282" y="115"/>
                    </a:lnTo>
                    <a:lnTo>
                      <a:pt x="282" y="115"/>
                    </a:lnTo>
                    <a:lnTo>
                      <a:pt x="273" y="124"/>
                    </a:lnTo>
                    <a:lnTo>
                      <a:pt x="273" y="124"/>
                    </a:lnTo>
                    <a:lnTo>
                      <a:pt x="282" y="124"/>
                    </a:lnTo>
                    <a:lnTo>
                      <a:pt x="282" y="124"/>
                    </a:lnTo>
                    <a:lnTo>
                      <a:pt x="273" y="133"/>
                    </a:lnTo>
                    <a:lnTo>
                      <a:pt x="273" y="133"/>
                    </a:lnTo>
                    <a:lnTo>
                      <a:pt x="264" y="133"/>
                    </a:lnTo>
                    <a:lnTo>
                      <a:pt x="264" y="142"/>
                    </a:lnTo>
                    <a:lnTo>
                      <a:pt x="264" y="142"/>
                    </a:lnTo>
                    <a:lnTo>
                      <a:pt x="264" y="142"/>
                    </a:lnTo>
                    <a:lnTo>
                      <a:pt x="264" y="142"/>
                    </a:lnTo>
                    <a:lnTo>
                      <a:pt x="264" y="151"/>
                    </a:lnTo>
                    <a:lnTo>
                      <a:pt x="264" y="151"/>
                    </a:lnTo>
                    <a:lnTo>
                      <a:pt x="264" y="142"/>
                    </a:lnTo>
                    <a:lnTo>
                      <a:pt x="264" y="151"/>
                    </a:lnTo>
                    <a:lnTo>
                      <a:pt x="264" y="160"/>
                    </a:lnTo>
                    <a:lnTo>
                      <a:pt x="264" y="160"/>
                    </a:lnTo>
                    <a:lnTo>
                      <a:pt x="264" y="168"/>
                    </a:lnTo>
                    <a:lnTo>
                      <a:pt x="256" y="168"/>
                    </a:lnTo>
                    <a:lnTo>
                      <a:pt x="256" y="177"/>
                    </a:lnTo>
                    <a:lnTo>
                      <a:pt x="256" y="177"/>
                    </a:lnTo>
                    <a:lnTo>
                      <a:pt x="256" y="177"/>
                    </a:lnTo>
                    <a:lnTo>
                      <a:pt x="247" y="186"/>
                    </a:lnTo>
                    <a:lnTo>
                      <a:pt x="247" y="186"/>
                    </a:lnTo>
                    <a:lnTo>
                      <a:pt x="238" y="186"/>
                    </a:lnTo>
                    <a:lnTo>
                      <a:pt x="247" y="186"/>
                    </a:lnTo>
                    <a:lnTo>
                      <a:pt x="247" y="186"/>
                    </a:lnTo>
                    <a:lnTo>
                      <a:pt x="247" y="195"/>
                    </a:lnTo>
                    <a:lnTo>
                      <a:pt x="247" y="204"/>
                    </a:lnTo>
                    <a:lnTo>
                      <a:pt x="229" y="204"/>
                    </a:lnTo>
                    <a:lnTo>
                      <a:pt x="238" y="204"/>
                    </a:lnTo>
                    <a:lnTo>
                      <a:pt x="238" y="213"/>
                    </a:lnTo>
                    <a:lnTo>
                      <a:pt x="238" y="221"/>
                    </a:lnTo>
                    <a:lnTo>
                      <a:pt x="238" y="221"/>
                    </a:lnTo>
                    <a:lnTo>
                      <a:pt x="229" y="221"/>
                    </a:lnTo>
                    <a:lnTo>
                      <a:pt x="229" y="221"/>
                    </a:lnTo>
                    <a:lnTo>
                      <a:pt x="238" y="221"/>
                    </a:lnTo>
                    <a:lnTo>
                      <a:pt x="229" y="230"/>
                    </a:lnTo>
                    <a:lnTo>
                      <a:pt x="229" y="230"/>
                    </a:lnTo>
                    <a:lnTo>
                      <a:pt x="229" y="230"/>
                    </a:lnTo>
                    <a:lnTo>
                      <a:pt x="229" y="230"/>
                    </a:lnTo>
                    <a:lnTo>
                      <a:pt x="220" y="239"/>
                    </a:lnTo>
                    <a:lnTo>
                      <a:pt x="229" y="239"/>
                    </a:lnTo>
                    <a:lnTo>
                      <a:pt x="220" y="248"/>
                    </a:lnTo>
                    <a:lnTo>
                      <a:pt x="229" y="239"/>
                    </a:lnTo>
                    <a:lnTo>
                      <a:pt x="229" y="248"/>
                    </a:lnTo>
                    <a:lnTo>
                      <a:pt x="229" y="248"/>
                    </a:lnTo>
                    <a:lnTo>
                      <a:pt x="229" y="248"/>
                    </a:lnTo>
                    <a:lnTo>
                      <a:pt x="229" y="248"/>
                    </a:lnTo>
                    <a:lnTo>
                      <a:pt x="229" y="257"/>
                    </a:lnTo>
                    <a:lnTo>
                      <a:pt x="229" y="266"/>
                    </a:lnTo>
                    <a:lnTo>
                      <a:pt x="238" y="266"/>
                    </a:lnTo>
                    <a:lnTo>
                      <a:pt x="238" y="274"/>
                    </a:lnTo>
                    <a:lnTo>
                      <a:pt x="238" y="274"/>
                    </a:lnTo>
                    <a:lnTo>
                      <a:pt x="229" y="274"/>
                    </a:lnTo>
                    <a:lnTo>
                      <a:pt x="229" y="274"/>
                    </a:lnTo>
                    <a:lnTo>
                      <a:pt x="229" y="283"/>
                    </a:lnTo>
                    <a:lnTo>
                      <a:pt x="124" y="292"/>
                    </a:lnTo>
                    <a:lnTo>
                      <a:pt x="44" y="292"/>
                    </a:lnTo>
                    <a:lnTo>
                      <a:pt x="44" y="248"/>
                    </a:lnTo>
                    <a:lnTo>
                      <a:pt x="27" y="248"/>
                    </a:lnTo>
                    <a:lnTo>
                      <a:pt x="18" y="248"/>
                    </a:lnTo>
                    <a:lnTo>
                      <a:pt x="18" y="248"/>
                    </a:lnTo>
                    <a:lnTo>
                      <a:pt x="18" y="239"/>
                    </a:lnTo>
                    <a:lnTo>
                      <a:pt x="9" y="239"/>
                    </a:lnTo>
                    <a:lnTo>
                      <a:pt x="9" y="106"/>
                    </a:lnTo>
                    <a:lnTo>
                      <a:pt x="9" y="80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04" name="Freeform 160"/>
              <p:cNvSpPr>
                <a:spLocks/>
              </p:cNvSpPr>
              <p:nvPr/>
            </p:nvSpPr>
            <p:spPr bwMode="auto">
              <a:xfrm>
                <a:off x="3172304" y="3101053"/>
                <a:ext cx="413223" cy="391756"/>
              </a:xfrm>
              <a:custGeom>
                <a:avLst/>
                <a:gdLst/>
                <a:ahLst/>
                <a:cxnLst>
                  <a:cxn ang="0">
                    <a:pos x="62" y="9"/>
                  </a:cxn>
                  <a:cxn ang="0">
                    <a:pos x="273" y="0"/>
                  </a:cxn>
                  <a:cxn ang="0">
                    <a:pos x="282" y="9"/>
                  </a:cxn>
                  <a:cxn ang="0">
                    <a:pos x="282" y="18"/>
                  </a:cxn>
                  <a:cxn ang="0">
                    <a:pos x="273" y="27"/>
                  </a:cxn>
                  <a:cxn ang="0">
                    <a:pos x="273" y="36"/>
                  </a:cxn>
                  <a:cxn ang="0">
                    <a:pos x="308" y="36"/>
                  </a:cxn>
                  <a:cxn ang="0">
                    <a:pos x="308" y="45"/>
                  </a:cxn>
                  <a:cxn ang="0">
                    <a:pos x="308" y="53"/>
                  </a:cxn>
                  <a:cxn ang="0">
                    <a:pos x="300" y="62"/>
                  </a:cxn>
                  <a:cxn ang="0">
                    <a:pos x="300" y="62"/>
                  </a:cxn>
                  <a:cxn ang="0">
                    <a:pos x="300" y="71"/>
                  </a:cxn>
                  <a:cxn ang="0">
                    <a:pos x="291" y="80"/>
                  </a:cxn>
                  <a:cxn ang="0">
                    <a:pos x="291" y="89"/>
                  </a:cxn>
                  <a:cxn ang="0">
                    <a:pos x="282" y="89"/>
                  </a:cxn>
                  <a:cxn ang="0">
                    <a:pos x="291" y="89"/>
                  </a:cxn>
                  <a:cxn ang="0">
                    <a:pos x="291" y="106"/>
                  </a:cxn>
                  <a:cxn ang="0">
                    <a:pos x="282" y="115"/>
                  </a:cxn>
                  <a:cxn ang="0">
                    <a:pos x="273" y="124"/>
                  </a:cxn>
                  <a:cxn ang="0">
                    <a:pos x="282" y="124"/>
                  </a:cxn>
                  <a:cxn ang="0">
                    <a:pos x="273" y="133"/>
                  </a:cxn>
                  <a:cxn ang="0">
                    <a:pos x="264" y="133"/>
                  </a:cxn>
                  <a:cxn ang="0">
                    <a:pos x="264" y="142"/>
                  </a:cxn>
                  <a:cxn ang="0">
                    <a:pos x="264" y="142"/>
                  </a:cxn>
                  <a:cxn ang="0">
                    <a:pos x="264" y="151"/>
                  </a:cxn>
                  <a:cxn ang="0">
                    <a:pos x="264" y="151"/>
                  </a:cxn>
                  <a:cxn ang="0">
                    <a:pos x="264" y="160"/>
                  </a:cxn>
                  <a:cxn ang="0">
                    <a:pos x="256" y="168"/>
                  </a:cxn>
                  <a:cxn ang="0">
                    <a:pos x="256" y="177"/>
                  </a:cxn>
                  <a:cxn ang="0">
                    <a:pos x="247" y="186"/>
                  </a:cxn>
                  <a:cxn ang="0">
                    <a:pos x="238" y="186"/>
                  </a:cxn>
                  <a:cxn ang="0">
                    <a:pos x="247" y="186"/>
                  </a:cxn>
                  <a:cxn ang="0">
                    <a:pos x="247" y="204"/>
                  </a:cxn>
                  <a:cxn ang="0">
                    <a:pos x="238" y="204"/>
                  </a:cxn>
                  <a:cxn ang="0">
                    <a:pos x="238" y="221"/>
                  </a:cxn>
                  <a:cxn ang="0">
                    <a:pos x="229" y="221"/>
                  </a:cxn>
                  <a:cxn ang="0">
                    <a:pos x="238" y="221"/>
                  </a:cxn>
                  <a:cxn ang="0">
                    <a:pos x="229" y="230"/>
                  </a:cxn>
                  <a:cxn ang="0">
                    <a:pos x="229" y="230"/>
                  </a:cxn>
                  <a:cxn ang="0">
                    <a:pos x="229" y="239"/>
                  </a:cxn>
                  <a:cxn ang="0">
                    <a:pos x="229" y="239"/>
                  </a:cxn>
                  <a:cxn ang="0">
                    <a:pos x="229" y="248"/>
                  </a:cxn>
                  <a:cxn ang="0">
                    <a:pos x="229" y="248"/>
                  </a:cxn>
                  <a:cxn ang="0">
                    <a:pos x="229" y="266"/>
                  </a:cxn>
                  <a:cxn ang="0">
                    <a:pos x="238" y="274"/>
                  </a:cxn>
                  <a:cxn ang="0">
                    <a:pos x="229" y="274"/>
                  </a:cxn>
                  <a:cxn ang="0">
                    <a:pos x="229" y="283"/>
                  </a:cxn>
                  <a:cxn ang="0">
                    <a:pos x="44" y="292"/>
                  </a:cxn>
                  <a:cxn ang="0">
                    <a:pos x="27" y="248"/>
                  </a:cxn>
                  <a:cxn ang="0">
                    <a:pos x="18" y="248"/>
                  </a:cxn>
                  <a:cxn ang="0">
                    <a:pos x="9" y="239"/>
                  </a:cxn>
                  <a:cxn ang="0">
                    <a:pos x="9" y="80"/>
                  </a:cxn>
                </a:cxnLst>
                <a:rect l="0" t="0" r="r" b="b"/>
                <a:pathLst>
                  <a:path w="308" h="292">
                    <a:moveTo>
                      <a:pt x="0" y="18"/>
                    </a:moveTo>
                    <a:lnTo>
                      <a:pt x="62" y="9"/>
                    </a:lnTo>
                    <a:lnTo>
                      <a:pt x="159" y="9"/>
                    </a:lnTo>
                    <a:lnTo>
                      <a:pt x="273" y="0"/>
                    </a:lnTo>
                    <a:lnTo>
                      <a:pt x="282" y="0"/>
                    </a:lnTo>
                    <a:lnTo>
                      <a:pt x="282" y="9"/>
                    </a:lnTo>
                    <a:lnTo>
                      <a:pt x="282" y="18"/>
                    </a:lnTo>
                    <a:lnTo>
                      <a:pt x="282" y="18"/>
                    </a:lnTo>
                    <a:lnTo>
                      <a:pt x="282" y="27"/>
                    </a:lnTo>
                    <a:lnTo>
                      <a:pt x="273" y="27"/>
                    </a:lnTo>
                    <a:lnTo>
                      <a:pt x="273" y="36"/>
                    </a:lnTo>
                    <a:lnTo>
                      <a:pt x="273" y="36"/>
                    </a:lnTo>
                    <a:lnTo>
                      <a:pt x="273" y="45"/>
                    </a:lnTo>
                    <a:lnTo>
                      <a:pt x="308" y="36"/>
                    </a:lnTo>
                    <a:lnTo>
                      <a:pt x="308" y="45"/>
                    </a:lnTo>
                    <a:lnTo>
                      <a:pt x="308" y="45"/>
                    </a:lnTo>
                    <a:lnTo>
                      <a:pt x="308" y="45"/>
                    </a:lnTo>
                    <a:lnTo>
                      <a:pt x="308" y="53"/>
                    </a:lnTo>
                    <a:lnTo>
                      <a:pt x="300" y="62"/>
                    </a:lnTo>
                    <a:lnTo>
                      <a:pt x="300" y="62"/>
                    </a:lnTo>
                    <a:lnTo>
                      <a:pt x="300" y="62"/>
                    </a:lnTo>
                    <a:lnTo>
                      <a:pt x="300" y="62"/>
                    </a:lnTo>
                    <a:lnTo>
                      <a:pt x="300" y="71"/>
                    </a:lnTo>
                    <a:lnTo>
                      <a:pt x="300" y="71"/>
                    </a:lnTo>
                    <a:lnTo>
                      <a:pt x="291" y="80"/>
                    </a:lnTo>
                    <a:lnTo>
                      <a:pt x="291" y="80"/>
                    </a:lnTo>
                    <a:lnTo>
                      <a:pt x="291" y="80"/>
                    </a:lnTo>
                    <a:lnTo>
                      <a:pt x="291" y="89"/>
                    </a:lnTo>
                    <a:lnTo>
                      <a:pt x="291" y="80"/>
                    </a:lnTo>
                    <a:lnTo>
                      <a:pt x="282" y="89"/>
                    </a:lnTo>
                    <a:lnTo>
                      <a:pt x="282" y="89"/>
                    </a:lnTo>
                    <a:lnTo>
                      <a:pt x="291" y="89"/>
                    </a:lnTo>
                    <a:lnTo>
                      <a:pt x="291" y="98"/>
                    </a:lnTo>
                    <a:lnTo>
                      <a:pt x="291" y="106"/>
                    </a:lnTo>
                    <a:lnTo>
                      <a:pt x="291" y="106"/>
                    </a:lnTo>
                    <a:lnTo>
                      <a:pt x="282" y="115"/>
                    </a:lnTo>
                    <a:lnTo>
                      <a:pt x="282" y="115"/>
                    </a:lnTo>
                    <a:lnTo>
                      <a:pt x="273" y="124"/>
                    </a:lnTo>
                    <a:lnTo>
                      <a:pt x="273" y="124"/>
                    </a:lnTo>
                    <a:lnTo>
                      <a:pt x="282" y="124"/>
                    </a:lnTo>
                    <a:lnTo>
                      <a:pt x="282" y="124"/>
                    </a:lnTo>
                    <a:lnTo>
                      <a:pt x="273" y="133"/>
                    </a:lnTo>
                    <a:lnTo>
                      <a:pt x="273" y="133"/>
                    </a:lnTo>
                    <a:lnTo>
                      <a:pt x="264" y="133"/>
                    </a:lnTo>
                    <a:lnTo>
                      <a:pt x="264" y="142"/>
                    </a:lnTo>
                    <a:lnTo>
                      <a:pt x="264" y="142"/>
                    </a:lnTo>
                    <a:lnTo>
                      <a:pt x="264" y="142"/>
                    </a:lnTo>
                    <a:lnTo>
                      <a:pt x="264" y="142"/>
                    </a:lnTo>
                    <a:lnTo>
                      <a:pt x="264" y="151"/>
                    </a:lnTo>
                    <a:lnTo>
                      <a:pt x="264" y="151"/>
                    </a:lnTo>
                    <a:lnTo>
                      <a:pt x="264" y="142"/>
                    </a:lnTo>
                    <a:lnTo>
                      <a:pt x="264" y="151"/>
                    </a:lnTo>
                    <a:lnTo>
                      <a:pt x="264" y="160"/>
                    </a:lnTo>
                    <a:lnTo>
                      <a:pt x="264" y="160"/>
                    </a:lnTo>
                    <a:lnTo>
                      <a:pt x="264" y="168"/>
                    </a:lnTo>
                    <a:lnTo>
                      <a:pt x="256" y="168"/>
                    </a:lnTo>
                    <a:lnTo>
                      <a:pt x="256" y="177"/>
                    </a:lnTo>
                    <a:lnTo>
                      <a:pt x="256" y="177"/>
                    </a:lnTo>
                    <a:lnTo>
                      <a:pt x="256" y="177"/>
                    </a:lnTo>
                    <a:lnTo>
                      <a:pt x="247" y="186"/>
                    </a:lnTo>
                    <a:lnTo>
                      <a:pt x="247" y="186"/>
                    </a:lnTo>
                    <a:lnTo>
                      <a:pt x="238" y="186"/>
                    </a:lnTo>
                    <a:lnTo>
                      <a:pt x="247" y="186"/>
                    </a:lnTo>
                    <a:lnTo>
                      <a:pt x="247" y="186"/>
                    </a:lnTo>
                    <a:lnTo>
                      <a:pt x="247" y="195"/>
                    </a:lnTo>
                    <a:lnTo>
                      <a:pt x="247" y="204"/>
                    </a:lnTo>
                    <a:lnTo>
                      <a:pt x="229" y="204"/>
                    </a:lnTo>
                    <a:lnTo>
                      <a:pt x="238" y="204"/>
                    </a:lnTo>
                    <a:lnTo>
                      <a:pt x="238" y="213"/>
                    </a:lnTo>
                    <a:lnTo>
                      <a:pt x="238" y="221"/>
                    </a:lnTo>
                    <a:lnTo>
                      <a:pt x="238" y="221"/>
                    </a:lnTo>
                    <a:lnTo>
                      <a:pt x="229" y="221"/>
                    </a:lnTo>
                    <a:lnTo>
                      <a:pt x="229" y="221"/>
                    </a:lnTo>
                    <a:lnTo>
                      <a:pt x="238" y="221"/>
                    </a:lnTo>
                    <a:lnTo>
                      <a:pt x="229" y="230"/>
                    </a:lnTo>
                    <a:lnTo>
                      <a:pt x="229" y="230"/>
                    </a:lnTo>
                    <a:lnTo>
                      <a:pt x="229" y="230"/>
                    </a:lnTo>
                    <a:lnTo>
                      <a:pt x="229" y="230"/>
                    </a:lnTo>
                    <a:lnTo>
                      <a:pt x="220" y="239"/>
                    </a:lnTo>
                    <a:lnTo>
                      <a:pt x="229" y="239"/>
                    </a:lnTo>
                    <a:lnTo>
                      <a:pt x="220" y="248"/>
                    </a:lnTo>
                    <a:lnTo>
                      <a:pt x="229" y="239"/>
                    </a:lnTo>
                    <a:lnTo>
                      <a:pt x="229" y="248"/>
                    </a:lnTo>
                    <a:lnTo>
                      <a:pt x="229" y="248"/>
                    </a:lnTo>
                    <a:lnTo>
                      <a:pt x="229" y="248"/>
                    </a:lnTo>
                    <a:lnTo>
                      <a:pt x="229" y="248"/>
                    </a:lnTo>
                    <a:lnTo>
                      <a:pt x="229" y="257"/>
                    </a:lnTo>
                    <a:lnTo>
                      <a:pt x="229" y="266"/>
                    </a:lnTo>
                    <a:lnTo>
                      <a:pt x="238" y="266"/>
                    </a:lnTo>
                    <a:lnTo>
                      <a:pt x="238" y="274"/>
                    </a:lnTo>
                    <a:lnTo>
                      <a:pt x="238" y="274"/>
                    </a:lnTo>
                    <a:lnTo>
                      <a:pt x="229" y="274"/>
                    </a:lnTo>
                    <a:lnTo>
                      <a:pt x="229" y="274"/>
                    </a:lnTo>
                    <a:lnTo>
                      <a:pt x="229" y="283"/>
                    </a:lnTo>
                    <a:lnTo>
                      <a:pt x="124" y="292"/>
                    </a:lnTo>
                    <a:lnTo>
                      <a:pt x="44" y="292"/>
                    </a:lnTo>
                    <a:lnTo>
                      <a:pt x="44" y="248"/>
                    </a:lnTo>
                    <a:lnTo>
                      <a:pt x="27" y="248"/>
                    </a:lnTo>
                    <a:lnTo>
                      <a:pt x="18" y="248"/>
                    </a:lnTo>
                    <a:lnTo>
                      <a:pt x="18" y="248"/>
                    </a:lnTo>
                    <a:lnTo>
                      <a:pt x="18" y="239"/>
                    </a:lnTo>
                    <a:lnTo>
                      <a:pt x="9" y="239"/>
                    </a:lnTo>
                    <a:lnTo>
                      <a:pt x="9" y="106"/>
                    </a:lnTo>
                    <a:lnTo>
                      <a:pt x="9" y="80"/>
                    </a:lnTo>
                    <a:lnTo>
                      <a:pt x="0" y="18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05" name="Freeform 161"/>
              <p:cNvSpPr>
                <a:spLocks/>
              </p:cNvSpPr>
              <p:nvPr/>
            </p:nvSpPr>
            <p:spPr bwMode="auto">
              <a:xfrm>
                <a:off x="3727740" y="3220459"/>
                <a:ext cx="319308" cy="533969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158" y="0"/>
                  </a:cxn>
                  <a:cxn ang="0">
                    <a:pos x="211" y="168"/>
                  </a:cxn>
                  <a:cxn ang="0">
                    <a:pos x="211" y="177"/>
                  </a:cxn>
                  <a:cxn ang="0">
                    <a:pos x="220" y="185"/>
                  </a:cxn>
                  <a:cxn ang="0">
                    <a:pos x="229" y="194"/>
                  </a:cxn>
                  <a:cxn ang="0">
                    <a:pos x="229" y="212"/>
                  </a:cxn>
                  <a:cxn ang="0">
                    <a:pos x="238" y="221"/>
                  </a:cxn>
                  <a:cxn ang="0">
                    <a:pos x="229" y="230"/>
                  </a:cxn>
                  <a:cxn ang="0">
                    <a:pos x="229" y="239"/>
                  </a:cxn>
                  <a:cxn ang="0">
                    <a:pos x="229" y="256"/>
                  </a:cxn>
                  <a:cxn ang="0">
                    <a:pos x="229" y="274"/>
                  </a:cxn>
                  <a:cxn ang="0">
                    <a:pos x="229" y="283"/>
                  </a:cxn>
                  <a:cxn ang="0">
                    <a:pos x="229" y="300"/>
                  </a:cxn>
                  <a:cxn ang="0">
                    <a:pos x="238" y="309"/>
                  </a:cxn>
                  <a:cxn ang="0">
                    <a:pos x="132" y="327"/>
                  </a:cxn>
                  <a:cxn ang="0">
                    <a:pos x="70" y="336"/>
                  </a:cxn>
                  <a:cxn ang="0">
                    <a:pos x="70" y="353"/>
                  </a:cxn>
                  <a:cxn ang="0">
                    <a:pos x="79" y="362"/>
                  </a:cxn>
                  <a:cxn ang="0">
                    <a:pos x="79" y="371"/>
                  </a:cxn>
                  <a:cxn ang="0">
                    <a:pos x="79" y="380"/>
                  </a:cxn>
                  <a:cxn ang="0">
                    <a:pos x="70" y="389"/>
                  </a:cxn>
                  <a:cxn ang="0">
                    <a:pos x="70" y="389"/>
                  </a:cxn>
                  <a:cxn ang="0">
                    <a:pos x="44" y="398"/>
                  </a:cxn>
                  <a:cxn ang="0">
                    <a:pos x="53" y="398"/>
                  </a:cxn>
                  <a:cxn ang="0">
                    <a:pos x="62" y="389"/>
                  </a:cxn>
                  <a:cxn ang="0">
                    <a:pos x="53" y="389"/>
                  </a:cxn>
                  <a:cxn ang="0">
                    <a:pos x="44" y="380"/>
                  </a:cxn>
                  <a:cxn ang="0">
                    <a:pos x="53" y="371"/>
                  </a:cxn>
                  <a:cxn ang="0">
                    <a:pos x="44" y="362"/>
                  </a:cxn>
                  <a:cxn ang="0">
                    <a:pos x="44" y="362"/>
                  </a:cxn>
                  <a:cxn ang="0">
                    <a:pos x="35" y="371"/>
                  </a:cxn>
                  <a:cxn ang="0">
                    <a:pos x="35" y="389"/>
                  </a:cxn>
                  <a:cxn ang="0">
                    <a:pos x="18" y="389"/>
                  </a:cxn>
                  <a:cxn ang="0">
                    <a:pos x="0" y="265"/>
                  </a:cxn>
                  <a:cxn ang="0">
                    <a:pos x="0" y="26"/>
                  </a:cxn>
                </a:cxnLst>
                <a:rect l="0" t="0" r="r" b="b"/>
                <a:pathLst>
                  <a:path w="238" h="398">
                    <a:moveTo>
                      <a:pt x="0" y="17"/>
                    </a:moveTo>
                    <a:lnTo>
                      <a:pt x="0" y="17"/>
                    </a:lnTo>
                    <a:lnTo>
                      <a:pt x="88" y="9"/>
                    </a:lnTo>
                    <a:lnTo>
                      <a:pt x="158" y="0"/>
                    </a:lnTo>
                    <a:lnTo>
                      <a:pt x="185" y="79"/>
                    </a:lnTo>
                    <a:lnTo>
                      <a:pt x="211" y="168"/>
                    </a:lnTo>
                    <a:lnTo>
                      <a:pt x="211" y="168"/>
                    </a:lnTo>
                    <a:lnTo>
                      <a:pt x="211" y="177"/>
                    </a:lnTo>
                    <a:lnTo>
                      <a:pt x="211" y="177"/>
                    </a:lnTo>
                    <a:lnTo>
                      <a:pt x="220" y="185"/>
                    </a:lnTo>
                    <a:lnTo>
                      <a:pt x="229" y="194"/>
                    </a:lnTo>
                    <a:lnTo>
                      <a:pt x="229" y="194"/>
                    </a:lnTo>
                    <a:lnTo>
                      <a:pt x="229" y="203"/>
                    </a:lnTo>
                    <a:lnTo>
                      <a:pt x="229" y="212"/>
                    </a:lnTo>
                    <a:lnTo>
                      <a:pt x="229" y="212"/>
                    </a:lnTo>
                    <a:lnTo>
                      <a:pt x="238" y="221"/>
                    </a:lnTo>
                    <a:lnTo>
                      <a:pt x="229" y="221"/>
                    </a:lnTo>
                    <a:lnTo>
                      <a:pt x="229" y="230"/>
                    </a:lnTo>
                    <a:lnTo>
                      <a:pt x="229" y="239"/>
                    </a:lnTo>
                    <a:lnTo>
                      <a:pt x="229" y="239"/>
                    </a:lnTo>
                    <a:lnTo>
                      <a:pt x="220" y="247"/>
                    </a:lnTo>
                    <a:lnTo>
                      <a:pt x="229" y="256"/>
                    </a:lnTo>
                    <a:lnTo>
                      <a:pt x="229" y="265"/>
                    </a:lnTo>
                    <a:lnTo>
                      <a:pt x="229" y="274"/>
                    </a:lnTo>
                    <a:lnTo>
                      <a:pt x="229" y="274"/>
                    </a:lnTo>
                    <a:lnTo>
                      <a:pt x="229" y="283"/>
                    </a:lnTo>
                    <a:lnTo>
                      <a:pt x="229" y="292"/>
                    </a:lnTo>
                    <a:lnTo>
                      <a:pt x="229" y="300"/>
                    </a:lnTo>
                    <a:lnTo>
                      <a:pt x="238" y="300"/>
                    </a:lnTo>
                    <a:lnTo>
                      <a:pt x="238" y="309"/>
                    </a:lnTo>
                    <a:lnTo>
                      <a:pt x="238" y="318"/>
                    </a:lnTo>
                    <a:lnTo>
                      <a:pt x="132" y="327"/>
                    </a:lnTo>
                    <a:lnTo>
                      <a:pt x="70" y="336"/>
                    </a:lnTo>
                    <a:lnTo>
                      <a:pt x="70" y="336"/>
                    </a:lnTo>
                    <a:lnTo>
                      <a:pt x="62" y="345"/>
                    </a:lnTo>
                    <a:lnTo>
                      <a:pt x="70" y="353"/>
                    </a:lnTo>
                    <a:lnTo>
                      <a:pt x="79" y="353"/>
                    </a:lnTo>
                    <a:lnTo>
                      <a:pt x="79" y="362"/>
                    </a:lnTo>
                    <a:lnTo>
                      <a:pt x="79" y="371"/>
                    </a:lnTo>
                    <a:lnTo>
                      <a:pt x="79" y="371"/>
                    </a:lnTo>
                    <a:lnTo>
                      <a:pt x="79" y="371"/>
                    </a:lnTo>
                    <a:lnTo>
                      <a:pt x="79" y="380"/>
                    </a:lnTo>
                    <a:lnTo>
                      <a:pt x="79" y="389"/>
                    </a:lnTo>
                    <a:lnTo>
                      <a:pt x="70" y="389"/>
                    </a:lnTo>
                    <a:lnTo>
                      <a:pt x="70" y="389"/>
                    </a:lnTo>
                    <a:lnTo>
                      <a:pt x="70" y="389"/>
                    </a:lnTo>
                    <a:lnTo>
                      <a:pt x="62" y="398"/>
                    </a:lnTo>
                    <a:lnTo>
                      <a:pt x="44" y="398"/>
                    </a:lnTo>
                    <a:lnTo>
                      <a:pt x="53" y="398"/>
                    </a:lnTo>
                    <a:lnTo>
                      <a:pt x="53" y="398"/>
                    </a:lnTo>
                    <a:lnTo>
                      <a:pt x="62" y="398"/>
                    </a:lnTo>
                    <a:lnTo>
                      <a:pt x="62" y="389"/>
                    </a:lnTo>
                    <a:lnTo>
                      <a:pt x="53" y="380"/>
                    </a:lnTo>
                    <a:lnTo>
                      <a:pt x="53" y="389"/>
                    </a:lnTo>
                    <a:lnTo>
                      <a:pt x="53" y="380"/>
                    </a:lnTo>
                    <a:lnTo>
                      <a:pt x="44" y="380"/>
                    </a:lnTo>
                    <a:lnTo>
                      <a:pt x="53" y="371"/>
                    </a:lnTo>
                    <a:lnTo>
                      <a:pt x="53" y="371"/>
                    </a:lnTo>
                    <a:lnTo>
                      <a:pt x="44" y="362"/>
                    </a:lnTo>
                    <a:lnTo>
                      <a:pt x="44" y="362"/>
                    </a:lnTo>
                    <a:lnTo>
                      <a:pt x="44" y="362"/>
                    </a:lnTo>
                    <a:lnTo>
                      <a:pt x="44" y="362"/>
                    </a:lnTo>
                    <a:lnTo>
                      <a:pt x="35" y="362"/>
                    </a:lnTo>
                    <a:lnTo>
                      <a:pt x="35" y="371"/>
                    </a:lnTo>
                    <a:lnTo>
                      <a:pt x="35" y="389"/>
                    </a:lnTo>
                    <a:lnTo>
                      <a:pt x="35" y="389"/>
                    </a:lnTo>
                    <a:lnTo>
                      <a:pt x="26" y="389"/>
                    </a:lnTo>
                    <a:lnTo>
                      <a:pt x="18" y="389"/>
                    </a:lnTo>
                    <a:lnTo>
                      <a:pt x="18" y="389"/>
                    </a:lnTo>
                    <a:lnTo>
                      <a:pt x="0" y="265"/>
                    </a:lnTo>
                    <a:lnTo>
                      <a:pt x="9" y="26"/>
                    </a:lnTo>
                    <a:lnTo>
                      <a:pt x="0" y="26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06" name="Freeform 163"/>
              <p:cNvSpPr>
                <a:spLocks/>
              </p:cNvSpPr>
              <p:nvPr/>
            </p:nvSpPr>
            <p:spPr bwMode="auto">
              <a:xfrm>
                <a:off x="3762622" y="3754429"/>
                <a:ext cx="12075" cy="134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0" y="0"/>
                  </a:cxn>
                  <a:cxn ang="0">
                    <a:pos x="9" y="0"/>
                  </a:cxn>
                </a:cxnLst>
                <a:rect l="0" t="0" r="r" b="b"/>
                <a:pathLst>
                  <a:path w="9">
                    <a:moveTo>
                      <a:pt x="9" y="0"/>
                    </a:moveTo>
                    <a:lnTo>
                      <a:pt x="9" y="0"/>
                    </a:lnTo>
                    <a:lnTo>
                      <a:pt x="0" y="0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07" name="Freeform 164"/>
              <p:cNvSpPr>
                <a:spLocks/>
              </p:cNvSpPr>
              <p:nvPr/>
            </p:nvSpPr>
            <p:spPr bwMode="auto">
              <a:xfrm>
                <a:off x="3762622" y="3754429"/>
                <a:ext cx="12075" cy="134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9" y="0"/>
                  </a:cxn>
                  <a:cxn ang="0">
                    <a:pos x="0" y="0"/>
                  </a:cxn>
                  <a:cxn ang="0">
                    <a:pos x="9" y="0"/>
                  </a:cxn>
                </a:cxnLst>
                <a:rect l="0" t="0" r="r" b="b"/>
                <a:pathLst>
                  <a:path w="9">
                    <a:moveTo>
                      <a:pt x="9" y="0"/>
                    </a:moveTo>
                    <a:lnTo>
                      <a:pt x="9" y="0"/>
                    </a:lnTo>
                    <a:lnTo>
                      <a:pt x="0" y="0"/>
                    </a:lnTo>
                    <a:lnTo>
                      <a:pt x="9" y="0"/>
                    </a:lnTo>
                  </a:path>
                </a:pathLst>
              </a:custGeom>
              <a:grpFill/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08" name="Freeform 57"/>
              <p:cNvSpPr>
                <a:spLocks/>
              </p:cNvSpPr>
              <p:nvPr/>
            </p:nvSpPr>
            <p:spPr bwMode="auto">
              <a:xfrm>
                <a:off x="3928984" y="2424871"/>
                <a:ext cx="342117" cy="403832"/>
              </a:xfrm>
              <a:custGeom>
                <a:avLst/>
                <a:gdLst/>
                <a:ahLst/>
                <a:cxnLst>
                  <a:cxn ang="0">
                    <a:pos x="52" y="53"/>
                  </a:cxn>
                  <a:cxn ang="0">
                    <a:pos x="79" y="45"/>
                  </a:cxn>
                  <a:cxn ang="0">
                    <a:pos x="88" y="53"/>
                  </a:cxn>
                  <a:cxn ang="0">
                    <a:pos x="105" y="62"/>
                  </a:cxn>
                  <a:cxn ang="0">
                    <a:pos x="114" y="53"/>
                  </a:cxn>
                  <a:cxn ang="0">
                    <a:pos x="114" y="62"/>
                  </a:cxn>
                  <a:cxn ang="0">
                    <a:pos x="114" y="62"/>
                  </a:cxn>
                  <a:cxn ang="0">
                    <a:pos x="123" y="62"/>
                  </a:cxn>
                  <a:cxn ang="0">
                    <a:pos x="132" y="62"/>
                  </a:cxn>
                  <a:cxn ang="0">
                    <a:pos x="149" y="62"/>
                  </a:cxn>
                  <a:cxn ang="0">
                    <a:pos x="158" y="53"/>
                  </a:cxn>
                  <a:cxn ang="0">
                    <a:pos x="176" y="53"/>
                  </a:cxn>
                  <a:cxn ang="0">
                    <a:pos x="193" y="36"/>
                  </a:cxn>
                  <a:cxn ang="0">
                    <a:pos x="202" y="27"/>
                  </a:cxn>
                  <a:cxn ang="0">
                    <a:pos x="237" y="0"/>
                  </a:cxn>
                  <a:cxn ang="0">
                    <a:pos x="255" y="106"/>
                  </a:cxn>
                  <a:cxn ang="0">
                    <a:pos x="255" y="106"/>
                  </a:cxn>
                  <a:cxn ang="0">
                    <a:pos x="255" y="115"/>
                  </a:cxn>
                  <a:cxn ang="0">
                    <a:pos x="255" y="142"/>
                  </a:cxn>
                  <a:cxn ang="0">
                    <a:pos x="255" y="160"/>
                  </a:cxn>
                  <a:cxn ang="0">
                    <a:pos x="255" y="168"/>
                  </a:cxn>
                  <a:cxn ang="0">
                    <a:pos x="255" y="177"/>
                  </a:cxn>
                  <a:cxn ang="0">
                    <a:pos x="246" y="195"/>
                  </a:cxn>
                  <a:cxn ang="0">
                    <a:pos x="237" y="204"/>
                  </a:cxn>
                  <a:cxn ang="0">
                    <a:pos x="220" y="213"/>
                  </a:cxn>
                  <a:cxn ang="0">
                    <a:pos x="211" y="221"/>
                  </a:cxn>
                  <a:cxn ang="0">
                    <a:pos x="202" y="230"/>
                  </a:cxn>
                  <a:cxn ang="0">
                    <a:pos x="202" y="239"/>
                  </a:cxn>
                  <a:cxn ang="0">
                    <a:pos x="202" y="257"/>
                  </a:cxn>
                  <a:cxn ang="0">
                    <a:pos x="193" y="248"/>
                  </a:cxn>
                  <a:cxn ang="0">
                    <a:pos x="184" y="257"/>
                  </a:cxn>
                  <a:cxn ang="0">
                    <a:pos x="184" y="266"/>
                  </a:cxn>
                  <a:cxn ang="0">
                    <a:pos x="184" y="274"/>
                  </a:cxn>
                  <a:cxn ang="0">
                    <a:pos x="184" y="283"/>
                  </a:cxn>
                  <a:cxn ang="0">
                    <a:pos x="176" y="292"/>
                  </a:cxn>
                  <a:cxn ang="0">
                    <a:pos x="167" y="301"/>
                  </a:cxn>
                  <a:cxn ang="0">
                    <a:pos x="167" y="301"/>
                  </a:cxn>
                  <a:cxn ang="0">
                    <a:pos x="158" y="292"/>
                  </a:cxn>
                  <a:cxn ang="0">
                    <a:pos x="149" y="283"/>
                  </a:cxn>
                  <a:cxn ang="0">
                    <a:pos x="132" y="283"/>
                  </a:cxn>
                  <a:cxn ang="0">
                    <a:pos x="123" y="292"/>
                  </a:cxn>
                  <a:cxn ang="0">
                    <a:pos x="114" y="292"/>
                  </a:cxn>
                  <a:cxn ang="0">
                    <a:pos x="105" y="292"/>
                  </a:cxn>
                  <a:cxn ang="0">
                    <a:pos x="96" y="292"/>
                  </a:cxn>
                  <a:cxn ang="0">
                    <a:pos x="79" y="283"/>
                  </a:cxn>
                  <a:cxn ang="0">
                    <a:pos x="70" y="283"/>
                  </a:cxn>
                  <a:cxn ang="0">
                    <a:pos x="52" y="274"/>
                  </a:cxn>
                  <a:cxn ang="0">
                    <a:pos x="44" y="266"/>
                  </a:cxn>
                  <a:cxn ang="0">
                    <a:pos x="26" y="266"/>
                  </a:cxn>
                  <a:cxn ang="0">
                    <a:pos x="8" y="133"/>
                  </a:cxn>
                </a:cxnLst>
                <a:rect l="0" t="0" r="r" b="b"/>
                <a:pathLst>
                  <a:path w="255" h="301">
                    <a:moveTo>
                      <a:pt x="0" y="62"/>
                    </a:moveTo>
                    <a:lnTo>
                      <a:pt x="52" y="53"/>
                    </a:lnTo>
                    <a:lnTo>
                      <a:pt x="70" y="45"/>
                    </a:lnTo>
                    <a:lnTo>
                      <a:pt x="79" y="45"/>
                    </a:lnTo>
                    <a:lnTo>
                      <a:pt x="88" y="53"/>
                    </a:lnTo>
                    <a:lnTo>
                      <a:pt x="88" y="53"/>
                    </a:lnTo>
                    <a:lnTo>
                      <a:pt x="96" y="53"/>
                    </a:lnTo>
                    <a:lnTo>
                      <a:pt x="105" y="62"/>
                    </a:lnTo>
                    <a:lnTo>
                      <a:pt x="105" y="62"/>
                    </a:lnTo>
                    <a:lnTo>
                      <a:pt x="114" y="53"/>
                    </a:lnTo>
                    <a:lnTo>
                      <a:pt x="114" y="62"/>
                    </a:lnTo>
                    <a:lnTo>
                      <a:pt x="114" y="62"/>
                    </a:lnTo>
                    <a:lnTo>
                      <a:pt x="105" y="62"/>
                    </a:lnTo>
                    <a:lnTo>
                      <a:pt x="114" y="62"/>
                    </a:lnTo>
                    <a:lnTo>
                      <a:pt x="114" y="62"/>
                    </a:lnTo>
                    <a:lnTo>
                      <a:pt x="123" y="62"/>
                    </a:lnTo>
                    <a:lnTo>
                      <a:pt x="132" y="62"/>
                    </a:lnTo>
                    <a:lnTo>
                      <a:pt x="132" y="62"/>
                    </a:lnTo>
                    <a:lnTo>
                      <a:pt x="140" y="62"/>
                    </a:lnTo>
                    <a:lnTo>
                      <a:pt x="149" y="62"/>
                    </a:lnTo>
                    <a:lnTo>
                      <a:pt x="149" y="53"/>
                    </a:lnTo>
                    <a:lnTo>
                      <a:pt x="158" y="53"/>
                    </a:lnTo>
                    <a:lnTo>
                      <a:pt x="167" y="53"/>
                    </a:lnTo>
                    <a:lnTo>
                      <a:pt x="176" y="53"/>
                    </a:lnTo>
                    <a:lnTo>
                      <a:pt x="184" y="45"/>
                    </a:lnTo>
                    <a:lnTo>
                      <a:pt x="193" y="36"/>
                    </a:lnTo>
                    <a:lnTo>
                      <a:pt x="193" y="27"/>
                    </a:lnTo>
                    <a:lnTo>
                      <a:pt x="202" y="27"/>
                    </a:lnTo>
                    <a:lnTo>
                      <a:pt x="211" y="18"/>
                    </a:lnTo>
                    <a:lnTo>
                      <a:pt x="237" y="0"/>
                    </a:lnTo>
                    <a:lnTo>
                      <a:pt x="237" y="0"/>
                    </a:lnTo>
                    <a:lnTo>
                      <a:pt x="255" y="106"/>
                    </a:lnTo>
                    <a:lnTo>
                      <a:pt x="255" y="106"/>
                    </a:lnTo>
                    <a:lnTo>
                      <a:pt x="255" y="106"/>
                    </a:lnTo>
                    <a:lnTo>
                      <a:pt x="255" y="115"/>
                    </a:lnTo>
                    <a:lnTo>
                      <a:pt x="255" y="115"/>
                    </a:lnTo>
                    <a:lnTo>
                      <a:pt x="255" y="133"/>
                    </a:lnTo>
                    <a:lnTo>
                      <a:pt x="255" y="142"/>
                    </a:lnTo>
                    <a:lnTo>
                      <a:pt x="255" y="151"/>
                    </a:lnTo>
                    <a:lnTo>
                      <a:pt x="255" y="160"/>
                    </a:lnTo>
                    <a:lnTo>
                      <a:pt x="255" y="168"/>
                    </a:lnTo>
                    <a:lnTo>
                      <a:pt x="255" y="168"/>
                    </a:lnTo>
                    <a:lnTo>
                      <a:pt x="255" y="168"/>
                    </a:lnTo>
                    <a:lnTo>
                      <a:pt x="255" y="177"/>
                    </a:lnTo>
                    <a:lnTo>
                      <a:pt x="255" y="177"/>
                    </a:lnTo>
                    <a:lnTo>
                      <a:pt x="246" y="195"/>
                    </a:lnTo>
                    <a:lnTo>
                      <a:pt x="246" y="195"/>
                    </a:lnTo>
                    <a:lnTo>
                      <a:pt x="237" y="204"/>
                    </a:lnTo>
                    <a:lnTo>
                      <a:pt x="228" y="213"/>
                    </a:lnTo>
                    <a:lnTo>
                      <a:pt x="220" y="213"/>
                    </a:lnTo>
                    <a:lnTo>
                      <a:pt x="211" y="221"/>
                    </a:lnTo>
                    <a:lnTo>
                      <a:pt x="211" y="221"/>
                    </a:lnTo>
                    <a:lnTo>
                      <a:pt x="211" y="230"/>
                    </a:lnTo>
                    <a:lnTo>
                      <a:pt x="202" y="230"/>
                    </a:lnTo>
                    <a:lnTo>
                      <a:pt x="202" y="239"/>
                    </a:lnTo>
                    <a:lnTo>
                      <a:pt x="202" y="239"/>
                    </a:lnTo>
                    <a:lnTo>
                      <a:pt x="202" y="248"/>
                    </a:lnTo>
                    <a:lnTo>
                      <a:pt x="202" y="257"/>
                    </a:lnTo>
                    <a:lnTo>
                      <a:pt x="202" y="257"/>
                    </a:lnTo>
                    <a:lnTo>
                      <a:pt x="193" y="248"/>
                    </a:lnTo>
                    <a:lnTo>
                      <a:pt x="193" y="248"/>
                    </a:lnTo>
                    <a:lnTo>
                      <a:pt x="184" y="257"/>
                    </a:lnTo>
                    <a:lnTo>
                      <a:pt x="184" y="257"/>
                    </a:lnTo>
                    <a:lnTo>
                      <a:pt x="184" y="266"/>
                    </a:lnTo>
                    <a:lnTo>
                      <a:pt x="184" y="266"/>
                    </a:lnTo>
                    <a:lnTo>
                      <a:pt x="184" y="274"/>
                    </a:lnTo>
                    <a:lnTo>
                      <a:pt x="184" y="274"/>
                    </a:lnTo>
                    <a:lnTo>
                      <a:pt x="184" y="283"/>
                    </a:lnTo>
                    <a:lnTo>
                      <a:pt x="176" y="283"/>
                    </a:lnTo>
                    <a:lnTo>
                      <a:pt x="176" y="292"/>
                    </a:lnTo>
                    <a:lnTo>
                      <a:pt x="176" y="301"/>
                    </a:lnTo>
                    <a:lnTo>
                      <a:pt x="167" y="301"/>
                    </a:lnTo>
                    <a:lnTo>
                      <a:pt x="167" y="301"/>
                    </a:lnTo>
                    <a:lnTo>
                      <a:pt x="167" y="301"/>
                    </a:lnTo>
                    <a:lnTo>
                      <a:pt x="158" y="301"/>
                    </a:lnTo>
                    <a:lnTo>
                      <a:pt x="158" y="292"/>
                    </a:lnTo>
                    <a:lnTo>
                      <a:pt x="149" y="292"/>
                    </a:lnTo>
                    <a:lnTo>
                      <a:pt x="149" y="283"/>
                    </a:lnTo>
                    <a:lnTo>
                      <a:pt x="140" y="274"/>
                    </a:lnTo>
                    <a:lnTo>
                      <a:pt x="132" y="283"/>
                    </a:lnTo>
                    <a:lnTo>
                      <a:pt x="132" y="283"/>
                    </a:lnTo>
                    <a:lnTo>
                      <a:pt x="123" y="292"/>
                    </a:lnTo>
                    <a:lnTo>
                      <a:pt x="123" y="292"/>
                    </a:lnTo>
                    <a:lnTo>
                      <a:pt x="114" y="292"/>
                    </a:lnTo>
                    <a:lnTo>
                      <a:pt x="114" y="292"/>
                    </a:lnTo>
                    <a:lnTo>
                      <a:pt x="105" y="292"/>
                    </a:lnTo>
                    <a:lnTo>
                      <a:pt x="105" y="292"/>
                    </a:lnTo>
                    <a:lnTo>
                      <a:pt x="96" y="292"/>
                    </a:lnTo>
                    <a:lnTo>
                      <a:pt x="96" y="292"/>
                    </a:lnTo>
                    <a:lnTo>
                      <a:pt x="79" y="283"/>
                    </a:lnTo>
                    <a:lnTo>
                      <a:pt x="79" y="283"/>
                    </a:lnTo>
                    <a:lnTo>
                      <a:pt x="70" y="283"/>
                    </a:lnTo>
                    <a:lnTo>
                      <a:pt x="61" y="283"/>
                    </a:lnTo>
                    <a:lnTo>
                      <a:pt x="52" y="274"/>
                    </a:lnTo>
                    <a:lnTo>
                      <a:pt x="52" y="266"/>
                    </a:lnTo>
                    <a:lnTo>
                      <a:pt x="44" y="266"/>
                    </a:lnTo>
                    <a:lnTo>
                      <a:pt x="35" y="266"/>
                    </a:lnTo>
                    <a:lnTo>
                      <a:pt x="26" y="266"/>
                    </a:lnTo>
                    <a:lnTo>
                      <a:pt x="17" y="266"/>
                    </a:lnTo>
                    <a:lnTo>
                      <a:pt x="8" y="133"/>
                    </a:lnTo>
                    <a:lnTo>
                      <a:pt x="0" y="62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</p:grpSp>
        <p:grpSp>
          <p:nvGrpSpPr>
            <p:cNvPr id="6" name="Group 127"/>
            <p:cNvGrpSpPr/>
            <p:nvPr/>
          </p:nvGrpSpPr>
          <p:grpSpPr>
            <a:xfrm>
              <a:off x="812374" y="1547444"/>
              <a:ext cx="4367012" cy="2700705"/>
              <a:chOff x="812374" y="1547444"/>
              <a:chExt cx="4367012" cy="2700705"/>
            </a:xfrm>
            <a:grpFill/>
          </p:grpSpPr>
          <p:sp>
            <p:nvSpPr>
              <p:cNvPr id="7" name="Freeform 138"/>
              <p:cNvSpPr>
                <a:spLocks/>
              </p:cNvSpPr>
              <p:nvPr/>
            </p:nvSpPr>
            <p:spPr bwMode="auto">
              <a:xfrm>
                <a:off x="3703590" y="2495978"/>
                <a:ext cx="260277" cy="450788"/>
              </a:xfrm>
              <a:custGeom>
                <a:avLst/>
                <a:gdLst/>
                <a:ahLst/>
                <a:cxnLst>
                  <a:cxn ang="0">
                    <a:pos x="0" y="336"/>
                  </a:cxn>
                  <a:cxn ang="0">
                    <a:pos x="0" y="319"/>
                  </a:cxn>
                  <a:cxn ang="0">
                    <a:pos x="9" y="310"/>
                  </a:cxn>
                  <a:cxn ang="0">
                    <a:pos x="9" y="301"/>
                  </a:cxn>
                  <a:cxn ang="0">
                    <a:pos x="18" y="292"/>
                  </a:cxn>
                  <a:cxn ang="0">
                    <a:pos x="18" y="275"/>
                  </a:cxn>
                  <a:cxn ang="0">
                    <a:pos x="27" y="266"/>
                  </a:cxn>
                  <a:cxn ang="0">
                    <a:pos x="27" y="248"/>
                  </a:cxn>
                  <a:cxn ang="0">
                    <a:pos x="27" y="239"/>
                  </a:cxn>
                  <a:cxn ang="0">
                    <a:pos x="18" y="230"/>
                  </a:cxn>
                  <a:cxn ang="0">
                    <a:pos x="18" y="213"/>
                  </a:cxn>
                  <a:cxn ang="0">
                    <a:pos x="9" y="27"/>
                  </a:cxn>
                  <a:cxn ang="0">
                    <a:pos x="9" y="27"/>
                  </a:cxn>
                  <a:cxn ang="0">
                    <a:pos x="27" y="27"/>
                  </a:cxn>
                  <a:cxn ang="0">
                    <a:pos x="44" y="18"/>
                  </a:cxn>
                  <a:cxn ang="0">
                    <a:pos x="80" y="9"/>
                  </a:cxn>
                  <a:cxn ang="0">
                    <a:pos x="168" y="9"/>
                  </a:cxn>
                  <a:cxn ang="0">
                    <a:pos x="185" y="213"/>
                  </a:cxn>
                  <a:cxn ang="0">
                    <a:pos x="194" y="221"/>
                  </a:cxn>
                  <a:cxn ang="0">
                    <a:pos x="194" y="230"/>
                  </a:cxn>
                  <a:cxn ang="0">
                    <a:pos x="185" y="239"/>
                  </a:cxn>
                  <a:cxn ang="0">
                    <a:pos x="168" y="248"/>
                  </a:cxn>
                  <a:cxn ang="0">
                    <a:pos x="159" y="248"/>
                  </a:cxn>
                  <a:cxn ang="0">
                    <a:pos x="159" y="257"/>
                  </a:cxn>
                  <a:cxn ang="0">
                    <a:pos x="150" y="266"/>
                  </a:cxn>
                  <a:cxn ang="0">
                    <a:pos x="150" y="283"/>
                  </a:cxn>
                  <a:cxn ang="0">
                    <a:pos x="132" y="283"/>
                  </a:cxn>
                  <a:cxn ang="0">
                    <a:pos x="132" y="301"/>
                  </a:cxn>
                  <a:cxn ang="0">
                    <a:pos x="124" y="310"/>
                  </a:cxn>
                  <a:cxn ang="0">
                    <a:pos x="115" y="310"/>
                  </a:cxn>
                  <a:cxn ang="0">
                    <a:pos x="106" y="292"/>
                  </a:cxn>
                  <a:cxn ang="0">
                    <a:pos x="97" y="301"/>
                  </a:cxn>
                  <a:cxn ang="0">
                    <a:pos x="97" y="319"/>
                  </a:cxn>
                  <a:cxn ang="0">
                    <a:pos x="88" y="328"/>
                  </a:cxn>
                  <a:cxn ang="0">
                    <a:pos x="80" y="319"/>
                  </a:cxn>
                  <a:cxn ang="0">
                    <a:pos x="71" y="319"/>
                  </a:cxn>
                  <a:cxn ang="0">
                    <a:pos x="62" y="328"/>
                  </a:cxn>
                  <a:cxn ang="0">
                    <a:pos x="62" y="336"/>
                  </a:cxn>
                  <a:cxn ang="0">
                    <a:pos x="44" y="319"/>
                  </a:cxn>
                  <a:cxn ang="0">
                    <a:pos x="27" y="328"/>
                  </a:cxn>
                  <a:cxn ang="0">
                    <a:pos x="27" y="336"/>
                  </a:cxn>
                  <a:cxn ang="0">
                    <a:pos x="18" y="328"/>
                  </a:cxn>
                  <a:cxn ang="0">
                    <a:pos x="9" y="336"/>
                  </a:cxn>
                  <a:cxn ang="0">
                    <a:pos x="9" y="336"/>
                  </a:cxn>
                </a:cxnLst>
                <a:rect l="0" t="0" r="r" b="b"/>
                <a:pathLst>
                  <a:path w="194" h="336">
                    <a:moveTo>
                      <a:pt x="9" y="336"/>
                    </a:moveTo>
                    <a:lnTo>
                      <a:pt x="0" y="336"/>
                    </a:lnTo>
                    <a:lnTo>
                      <a:pt x="0" y="328"/>
                    </a:lnTo>
                    <a:lnTo>
                      <a:pt x="0" y="319"/>
                    </a:lnTo>
                    <a:lnTo>
                      <a:pt x="9" y="319"/>
                    </a:lnTo>
                    <a:lnTo>
                      <a:pt x="9" y="310"/>
                    </a:lnTo>
                    <a:lnTo>
                      <a:pt x="9" y="310"/>
                    </a:lnTo>
                    <a:lnTo>
                      <a:pt x="9" y="301"/>
                    </a:lnTo>
                    <a:lnTo>
                      <a:pt x="9" y="292"/>
                    </a:lnTo>
                    <a:lnTo>
                      <a:pt x="18" y="292"/>
                    </a:lnTo>
                    <a:lnTo>
                      <a:pt x="18" y="283"/>
                    </a:lnTo>
                    <a:lnTo>
                      <a:pt x="18" y="275"/>
                    </a:lnTo>
                    <a:lnTo>
                      <a:pt x="27" y="266"/>
                    </a:lnTo>
                    <a:lnTo>
                      <a:pt x="27" y="266"/>
                    </a:lnTo>
                    <a:lnTo>
                      <a:pt x="27" y="257"/>
                    </a:lnTo>
                    <a:lnTo>
                      <a:pt x="27" y="248"/>
                    </a:lnTo>
                    <a:lnTo>
                      <a:pt x="27" y="248"/>
                    </a:lnTo>
                    <a:lnTo>
                      <a:pt x="27" y="239"/>
                    </a:lnTo>
                    <a:lnTo>
                      <a:pt x="18" y="230"/>
                    </a:lnTo>
                    <a:lnTo>
                      <a:pt x="18" y="230"/>
                    </a:lnTo>
                    <a:lnTo>
                      <a:pt x="18" y="221"/>
                    </a:lnTo>
                    <a:lnTo>
                      <a:pt x="18" y="213"/>
                    </a:lnTo>
                    <a:lnTo>
                      <a:pt x="27" y="213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18" y="27"/>
                    </a:lnTo>
                    <a:lnTo>
                      <a:pt x="27" y="27"/>
                    </a:lnTo>
                    <a:lnTo>
                      <a:pt x="36" y="27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80" y="9"/>
                    </a:lnTo>
                    <a:lnTo>
                      <a:pt x="159" y="0"/>
                    </a:lnTo>
                    <a:lnTo>
                      <a:pt x="168" y="9"/>
                    </a:lnTo>
                    <a:lnTo>
                      <a:pt x="176" y="80"/>
                    </a:lnTo>
                    <a:lnTo>
                      <a:pt x="185" y="213"/>
                    </a:lnTo>
                    <a:lnTo>
                      <a:pt x="185" y="213"/>
                    </a:lnTo>
                    <a:lnTo>
                      <a:pt x="194" y="221"/>
                    </a:lnTo>
                    <a:lnTo>
                      <a:pt x="185" y="230"/>
                    </a:lnTo>
                    <a:lnTo>
                      <a:pt x="194" y="230"/>
                    </a:lnTo>
                    <a:lnTo>
                      <a:pt x="194" y="239"/>
                    </a:lnTo>
                    <a:lnTo>
                      <a:pt x="185" y="239"/>
                    </a:lnTo>
                    <a:lnTo>
                      <a:pt x="168" y="248"/>
                    </a:lnTo>
                    <a:lnTo>
                      <a:pt x="168" y="248"/>
                    </a:lnTo>
                    <a:lnTo>
                      <a:pt x="159" y="248"/>
                    </a:lnTo>
                    <a:lnTo>
                      <a:pt x="159" y="248"/>
                    </a:lnTo>
                    <a:lnTo>
                      <a:pt x="159" y="248"/>
                    </a:lnTo>
                    <a:lnTo>
                      <a:pt x="159" y="257"/>
                    </a:lnTo>
                    <a:lnTo>
                      <a:pt x="159" y="266"/>
                    </a:lnTo>
                    <a:lnTo>
                      <a:pt x="150" y="266"/>
                    </a:lnTo>
                    <a:lnTo>
                      <a:pt x="150" y="275"/>
                    </a:lnTo>
                    <a:lnTo>
                      <a:pt x="150" y="283"/>
                    </a:lnTo>
                    <a:lnTo>
                      <a:pt x="141" y="283"/>
                    </a:lnTo>
                    <a:lnTo>
                      <a:pt x="132" y="283"/>
                    </a:lnTo>
                    <a:lnTo>
                      <a:pt x="132" y="292"/>
                    </a:lnTo>
                    <a:lnTo>
                      <a:pt x="132" y="301"/>
                    </a:lnTo>
                    <a:lnTo>
                      <a:pt x="132" y="310"/>
                    </a:lnTo>
                    <a:lnTo>
                      <a:pt x="124" y="310"/>
                    </a:lnTo>
                    <a:lnTo>
                      <a:pt x="115" y="310"/>
                    </a:lnTo>
                    <a:lnTo>
                      <a:pt x="115" y="310"/>
                    </a:lnTo>
                    <a:lnTo>
                      <a:pt x="106" y="301"/>
                    </a:lnTo>
                    <a:lnTo>
                      <a:pt x="106" y="292"/>
                    </a:lnTo>
                    <a:lnTo>
                      <a:pt x="106" y="301"/>
                    </a:lnTo>
                    <a:lnTo>
                      <a:pt x="97" y="301"/>
                    </a:lnTo>
                    <a:lnTo>
                      <a:pt x="97" y="310"/>
                    </a:lnTo>
                    <a:lnTo>
                      <a:pt x="97" y="319"/>
                    </a:lnTo>
                    <a:lnTo>
                      <a:pt x="97" y="319"/>
                    </a:lnTo>
                    <a:lnTo>
                      <a:pt x="88" y="328"/>
                    </a:lnTo>
                    <a:lnTo>
                      <a:pt x="88" y="319"/>
                    </a:lnTo>
                    <a:lnTo>
                      <a:pt x="80" y="319"/>
                    </a:lnTo>
                    <a:lnTo>
                      <a:pt x="80" y="319"/>
                    </a:lnTo>
                    <a:lnTo>
                      <a:pt x="71" y="319"/>
                    </a:lnTo>
                    <a:lnTo>
                      <a:pt x="71" y="319"/>
                    </a:lnTo>
                    <a:lnTo>
                      <a:pt x="62" y="328"/>
                    </a:lnTo>
                    <a:lnTo>
                      <a:pt x="62" y="328"/>
                    </a:lnTo>
                    <a:lnTo>
                      <a:pt x="62" y="336"/>
                    </a:lnTo>
                    <a:lnTo>
                      <a:pt x="62" y="328"/>
                    </a:lnTo>
                    <a:lnTo>
                      <a:pt x="44" y="319"/>
                    </a:lnTo>
                    <a:lnTo>
                      <a:pt x="36" y="328"/>
                    </a:lnTo>
                    <a:lnTo>
                      <a:pt x="27" y="328"/>
                    </a:lnTo>
                    <a:lnTo>
                      <a:pt x="36" y="328"/>
                    </a:lnTo>
                    <a:lnTo>
                      <a:pt x="27" y="336"/>
                    </a:lnTo>
                    <a:lnTo>
                      <a:pt x="27" y="328"/>
                    </a:lnTo>
                    <a:lnTo>
                      <a:pt x="18" y="328"/>
                    </a:lnTo>
                    <a:lnTo>
                      <a:pt x="9" y="328"/>
                    </a:lnTo>
                    <a:lnTo>
                      <a:pt x="9" y="336"/>
                    </a:lnTo>
                    <a:lnTo>
                      <a:pt x="9" y="336"/>
                    </a:lnTo>
                    <a:lnTo>
                      <a:pt x="9" y="336"/>
                    </a:lnTo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3279634" y="1998232"/>
                <a:ext cx="413223" cy="462863"/>
              </a:xfrm>
              <a:custGeom>
                <a:avLst/>
                <a:gdLst/>
                <a:ahLst/>
                <a:cxnLst>
                  <a:cxn ang="0">
                    <a:pos x="44" y="18"/>
                  </a:cxn>
                  <a:cxn ang="0">
                    <a:pos x="79" y="9"/>
                  </a:cxn>
                  <a:cxn ang="0">
                    <a:pos x="96" y="0"/>
                  </a:cxn>
                  <a:cxn ang="0">
                    <a:pos x="105" y="9"/>
                  </a:cxn>
                  <a:cxn ang="0">
                    <a:pos x="105" y="18"/>
                  </a:cxn>
                  <a:cxn ang="0">
                    <a:pos x="105" y="18"/>
                  </a:cxn>
                  <a:cxn ang="0">
                    <a:pos x="132" y="27"/>
                  </a:cxn>
                  <a:cxn ang="0">
                    <a:pos x="140" y="35"/>
                  </a:cxn>
                  <a:cxn ang="0">
                    <a:pos x="220" y="62"/>
                  </a:cxn>
                  <a:cxn ang="0">
                    <a:pos x="237" y="62"/>
                  </a:cxn>
                  <a:cxn ang="0">
                    <a:pos x="255" y="71"/>
                  </a:cxn>
                  <a:cxn ang="0">
                    <a:pos x="272" y="80"/>
                  </a:cxn>
                  <a:cxn ang="0">
                    <a:pos x="281" y="88"/>
                  </a:cxn>
                  <a:cxn ang="0">
                    <a:pos x="272" y="106"/>
                  </a:cxn>
                  <a:cxn ang="0">
                    <a:pos x="281" y="115"/>
                  </a:cxn>
                  <a:cxn ang="0">
                    <a:pos x="290" y="124"/>
                  </a:cxn>
                  <a:cxn ang="0">
                    <a:pos x="290" y="133"/>
                  </a:cxn>
                  <a:cxn ang="0">
                    <a:pos x="281" y="150"/>
                  </a:cxn>
                  <a:cxn ang="0">
                    <a:pos x="272" y="168"/>
                  </a:cxn>
                  <a:cxn ang="0">
                    <a:pos x="281" y="168"/>
                  </a:cxn>
                  <a:cxn ang="0">
                    <a:pos x="290" y="150"/>
                  </a:cxn>
                  <a:cxn ang="0">
                    <a:pos x="299" y="142"/>
                  </a:cxn>
                  <a:cxn ang="0">
                    <a:pos x="308" y="159"/>
                  </a:cxn>
                  <a:cxn ang="0">
                    <a:pos x="299" y="186"/>
                  </a:cxn>
                  <a:cxn ang="0">
                    <a:pos x="299" y="203"/>
                  </a:cxn>
                  <a:cxn ang="0">
                    <a:pos x="290" y="230"/>
                  </a:cxn>
                  <a:cxn ang="0">
                    <a:pos x="290" y="248"/>
                  </a:cxn>
                  <a:cxn ang="0">
                    <a:pos x="290" y="265"/>
                  </a:cxn>
                  <a:cxn ang="0">
                    <a:pos x="290" y="292"/>
                  </a:cxn>
                  <a:cxn ang="0">
                    <a:pos x="299" y="310"/>
                  </a:cxn>
                  <a:cxn ang="0">
                    <a:pos x="299" y="327"/>
                  </a:cxn>
                  <a:cxn ang="0">
                    <a:pos x="228" y="345"/>
                  </a:cxn>
                  <a:cxn ang="0">
                    <a:pos x="114" y="336"/>
                  </a:cxn>
                  <a:cxn ang="0">
                    <a:pos x="105" y="318"/>
                  </a:cxn>
                  <a:cxn ang="0">
                    <a:pos x="105" y="301"/>
                  </a:cxn>
                  <a:cxn ang="0">
                    <a:pos x="105" y="283"/>
                  </a:cxn>
                  <a:cxn ang="0">
                    <a:pos x="96" y="274"/>
                  </a:cxn>
                  <a:cxn ang="0">
                    <a:pos x="96" y="256"/>
                  </a:cxn>
                  <a:cxn ang="0">
                    <a:pos x="88" y="230"/>
                  </a:cxn>
                  <a:cxn ang="0">
                    <a:pos x="70" y="230"/>
                  </a:cxn>
                  <a:cxn ang="0">
                    <a:pos x="44" y="203"/>
                  </a:cxn>
                  <a:cxn ang="0">
                    <a:pos x="35" y="195"/>
                  </a:cxn>
                  <a:cxn ang="0">
                    <a:pos x="8" y="186"/>
                  </a:cxn>
                  <a:cxn ang="0">
                    <a:pos x="8" y="159"/>
                  </a:cxn>
                  <a:cxn ang="0">
                    <a:pos x="8" y="133"/>
                  </a:cxn>
                  <a:cxn ang="0">
                    <a:pos x="0" y="115"/>
                  </a:cxn>
                  <a:cxn ang="0">
                    <a:pos x="0" y="97"/>
                  </a:cxn>
                  <a:cxn ang="0">
                    <a:pos x="17" y="80"/>
                  </a:cxn>
                  <a:cxn ang="0">
                    <a:pos x="26" y="62"/>
                  </a:cxn>
                  <a:cxn ang="0">
                    <a:pos x="35" y="18"/>
                  </a:cxn>
                </a:cxnLst>
                <a:rect l="0" t="0" r="r" b="b"/>
                <a:pathLst>
                  <a:path w="308" h="345">
                    <a:moveTo>
                      <a:pt x="35" y="18"/>
                    </a:moveTo>
                    <a:lnTo>
                      <a:pt x="44" y="18"/>
                    </a:lnTo>
                    <a:lnTo>
                      <a:pt x="44" y="18"/>
                    </a:lnTo>
                    <a:lnTo>
                      <a:pt x="52" y="18"/>
                    </a:lnTo>
                    <a:lnTo>
                      <a:pt x="70" y="9"/>
                    </a:lnTo>
                    <a:lnTo>
                      <a:pt x="79" y="9"/>
                    </a:lnTo>
                    <a:lnTo>
                      <a:pt x="88" y="9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5" y="0"/>
                    </a:lnTo>
                    <a:lnTo>
                      <a:pt x="105" y="0"/>
                    </a:lnTo>
                    <a:lnTo>
                      <a:pt x="105" y="9"/>
                    </a:lnTo>
                    <a:lnTo>
                      <a:pt x="105" y="9"/>
                    </a:lnTo>
                    <a:lnTo>
                      <a:pt x="105" y="18"/>
                    </a:lnTo>
                    <a:lnTo>
                      <a:pt x="105" y="18"/>
                    </a:lnTo>
                    <a:lnTo>
                      <a:pt x="96" y="27"/>
                    </a:lnTo>
                    <a:lnTo>
                      <a:pt x="105" y="27"/>
                    </a:lnTo>
                    <a:lnTo>
                      <a:pt x="105" y="18"/>
                    </a:lnTo>
                    <a:lnTo>
                      <a:pt x="114" y="18"/>
                    </a:lnTo>
                    <a:lnTo>
                      <a:pt x="123" y="27"/>
                    </a:lnTo>
                    <a:lnTo>
                      <a:pt x="132" y="27"/>
                    </a:lnTo>
                    <a:lnTo>
                      <a:pt x="132" y="27"/>
                    </a:lnTo>
                    <a:lnTo>
                      <a:pt x="132" y="27"/>
                    </a:lnTo>
                    <a:lnTo>
                      <a:pt x="140" y="35"/>
                    </a:lnTo>
                    <a:lnTo>
                      <a:pt x="149" y="44"/>
                    </a:lnTo>
                    <a:lnTo>
                      <a:pt x="202" y="53"/>
                    </a:lnTo>
                    <a:lnTo>
                      <a:pt x="220" y="62"/>
                    </a:lnTo>
                    <a:lnTo>
                      <a:pt x="220" y="62"/>
                    </a:lnTo>
                    <a:lnTo>
                      <a:pt x="228" y="62"/>
                    </a:lnTo>
                    <a:lnTo>
                      <a:pt x="237" y="62"/>
                    </a:lnTo>
                    <a:lnTo>
                      <a:pt x="237" y="62"/>
                    </a:lnTo>
                    <a:lnTo>
                      <a:pt x="255" y="62"/>
                    </a:lnTo>
                    <a:lnTo>
                      <a:pt x="255" y="71"/>
                    </a:lnTo>
                    <a:lnTo>
                      <a:pt x="255" y="80"/>
                    </a:lnTo>
                    <a:lnTo>
                      <a:pt x="264" y="80"/>
                    </a:lnTo>
                    <a:lnTo>
                      <a:pt x="272" y="80"/>
                    </a:lnTo>
                    <a:lnTo>
                      <a:pt x="272" y="80"/>
                    </a:lnTo>
                    <a:lnTo>
                      <a:pt x="272" y="88"/>
                    </a:lnTo>
                    <a:lnTo>
                      <a:pt x="281" y="88"/>
                    </a:lnTo>
                    <a:lnTo>
                      <a:pt x="272" y="97"/>
                    </a:lnTo>
                    <a:lnTo>
                      <a:pt x="272" y="106"/>
                    </a:lnTo>
                    <a:lnTo>
                      <a:pt x="272" y="106"/>
                    </a:lnTo>
                    <a:lnTo>
                      <a:pt x="281" y="106"/>
                    </a:lnTo>
                    <a:lnTo>
                      <a:pt x="290" y="106"/>
                    </a:lnTo>
                    <a:lnTo>
                      <a:pt x="281" y="115"/>
                    </a:lnTo>
                    <a:lnTo>
                      <a:pt x="281" y="124"/>
                    </a:lnTo>
                    <a:lnTo>
                      <a:pt x="290" y="124"/>
                    </a:lnTo>
                    <a:lnTo>
                      <a:pt x="290" y="124"/>
                    </a:lnTo>
                    <a:lnTo>
                      <a:pt x="290" y="124"/>
                    </a:lnTo>
                    <a:lnTo>
                      <a:pt x="290" y="133"/>
                    </a:lnTo>
                    <a:lnTo>
                      <a:pt x="290" y="133"/>
                    </a:lnTo>
                    <a:lnTo>
                      <a:pt x="290" y="142"/>
                    </a:lnTo>
                    <a:lnTo>
                      <a:pt x="281" y="142"/>
                    </a:lnTo>
                    <a:lnTo>
                      <a:pt x="281" y="150"/>
                    </a:lnTo>
                    <a:lnTo>
                      <a:pt x="281" y="150"/>
                    </a:lnTo>
                    <a:lnTo>
                      <a:pt x="272" y="159"/>
                    </a:lnTo>
                    <a:lnTo>
                      <a:pt x="272" y="168"/>
                    </a:lnTo>
                    <a:lnTo>
                      <a:pt x="272" y="177"/>
                    </a:lnTo>
                    <a:lnTo>
                      <a:pt x="281" y="177"/>
                    </a:lnTo>
                    <a:lnTo>
                      <a:pt x="281" y="168"/>
                    </a:lnTo>
                    <a:lnTo>
                      <a:pt x="281" y="168"/>
                    </a:lnTo>
                    <a:lnTo>
                      <a:pt x="290" y="159"/>
                    </a:lnTo>
                    <a:lnTo>
                      <a:pt x="290" y="150"/>
                    </a:lnTo>
                    <a:lnTo>
                      <a:pt x="290" y="150"/>
                    </a:lnTo>
                    <a:lnTo>
                      <a:pt x="299" y="150"/>
                    </a:lnTo>
                    <a:lnTo>
                      <a:pt x="299" y="142"/>
                    </a:lnTo>
                    <a:lnTo>
                      <a:pt x="308" y="150"/>
                    </a:lnTo>
                    <a:lnTo>
                      <a:pt x="308" y="150"/>
                    </a:lnTo>
                    <a:lnTo>
                      <a:pt x="308" y="159"/>
                    </a:lnTo>
                    <a:lnTo>
                      <a:pt x="299" y="177"/>
                    </a:lnTo>
                    <a:lnTo>
                      <a:pt x="299" y="186"/>
                    </a:lnTo>
                    <a:lnTo>
                      <a:pt x="299" y="186"/>
                    </a:lnTo>
                    <a:lnTo>
                      <a:pt x="308" y="203"/>
                    </a:lnTo>
                    <a:lnTo>
                      <a:pt x="308" y="203"/>
                    </a:lnTo>
                    <a:lnTo>
                      <a:pt x="299" y="203"/>
                    </a:lnTo>
                    <a:lnTo>
                      <a:pt x="299" y="212"/>
                    </a:lnTo>
                    <a:lnTo>
                      <a:pt x="290" y="221"/>
                    </a:lnTo>
                    <a:lnTo>
                      <a:pt x="290" y="230"/>
                    </a:lnTo>
                    <a:lnTo>
                      <a:pt x="299" y="239"/>
                    </a:lnTo>
                    <a:lnTo>
                      <a:pt x="299" y="239"/>
                    </a:lnTo>
                    <a:lnTo>
                      <a:pt x="290" y="248"/>
                    </a:lnTo>
                    <a:lnTo>
                      <a:pt x="290" y="256"/>
                    </a:lnTo>
                    <a:lnTo>
                      <a:pt x="290" y="256"/>
                    </a:lnTo>
                    <a:lnTo>
                      <a:pt x="290" y="265"/>
                    </a:lnTo>
                    <a:lnTo>
                      <a:pt x="290" y="274"/>
                    </a:lnTo>
                    <a:lnTo>
                      <a:pt x="290" y="292"/>
                    </a:lnTo>
                    <a:lnTo>
                      <a:pt x="290" y="292"/>
                    </a:lnTo>
                    <a:lnTo>
                      <a:pt x="299" y="301"/>
                    </a:lnTo>
                    <a:lnTo>
                      <a:pt x="299" y="301"/>
                    </a:lnTo>
                    <a:lnTo>
                      <a:pt x="299" y="310"/>
                    </a:lnTo>
                    <a:lnTo>
                      <a:pt x="299" y="318"/>
                    </a:lnTo>
                    <a:lnTo>
                      <a:pt x="299" y="318"/>
                    </a:lnTo>
                    <a:lnTo>
                      <a:pt x="299" y="327"/>
                    </a:lnTo>
                    <a:lnTo>
                      <a:pt x="299" y="336"/>
                    </a:lnTo>
                    <a:lnTo>
                      <a:pt x="299" y="336"/>
                    </a:lnTo>
                    <a:lnTo>
                      <a:pt x="228" y="345"/>
                    </a:lnTo>
                    <a:lnTo>
                      <a:pt x="140" y="345"/>
                    </a:lnTo>
                    <a:lnTo>
                      <a:pt x="132" y="336"/>
                    </a:lnTo>
                    <a:lnTo>
                      <a:pt x="114" y="336"/>
                    </a:lnTo>
                    <a:lnTo>
                      <a:pt x="114" y="327"/>
                    </a:lnTo>
                    <a:lnTo>
                      <a:pt x="114" y="327"/>
                    </a:lnTo>
                    <a:lnTo>
                      <a:pt x="105" y="318"/>
                    </a:lnTo>
                    <a:lnTo>
                      <a:pt x="105" y="318"/>
                    </a:lnTo>
                    <a:lnTo>
                      <a:pt x="105" y="310"/>
                    </a:lnTo>
                    <a:lnTo>
                      <a:pt x="105" y="301"/>
                    </a:lnTo>
                    <a:lnTo>
                      <a:pt x="105" y="292"/>
                    </a:lnTo>
                    <a:lnTo>
                      <a:pt x="105" y="283"/>
                    </a:lnTo>
                    <a:lnTo>
                      <a:pt x="105" y="283"/>
                    </a:lnTo>
                    <a:lnTo>
                      <a:pt x="96" y="274"/>
                    </a:lnTo>
                    <a:lnTo>
                      <a:pt x="96" y="274"/>
                    </a:lnTo>
                    <a:lnTo>
                      <a:pt x="96" y="274"/>
                    </a:lnTo>
                    <a:lnTo>
                      <a:pt x="96" y="265"/>
                    </a:lnTo>
                    <a:lnTo>
                      <a:pt x="96" y="265"/>
                    </a:lnTo>
                    <a:lnTo>
                      <a:pt x="96" y="256"/>
                    </a:lnTo>
                    <a:lnTo>
                      <a:pt x="96" y="248"/>
                    </a:lnTo>
                    <a:lnTo>
                      <a:pt x="88" y="239"/>
                    </a:lnTo>
                    <a:lnTo>
                      <a:pt x="88" y="230"/>
                    </a:lnTo>
                    <a:lnTo>
                      <a:pt x="79" y="230"/>
                    </a:lnTo>
                    <a:lnTo>
                      <a:pt x="79" y="230"/>
                    </a:lnTo>
                    <a:lnTo>
                      <a:pt x="70" y="230"/>
                    </a:lnTo>
                    <a:lnTo>
                      <a:pt x="61" y="221"/>
                    </a:lnTo>
                    <a:lnTo>
                      <a:pt x="52" y="203"/>
                    </a:lnTo>
                    <a:lnTo>
                      <a:pt x="44" y="203"/>
                    </a:lnTo>
                    <a:lnTo>
                      <a:pt x="35" y="203"/>
                    </a:lnTo>
                    <a:lnTo>
                      <a:pt x="35" y="195"/>
                    </a:lnTo>
                    <a:lnTo>
                      <a:pt x="35" y="195"/>
                    </a:lnTo>
                    <a:lnTo>
                      <a:pt x="26" y="186"/>
                    </a:lnTo>
                    <a:lnTo>
                      <a:pt x="17" y="186"/>
                    </a:lnTo>
                    <a:lnTo>
                      <a:pt x="8" y="186"/>
                    </a:lnTo>
                    <a:lnTo>
                      <a:pt x="0" y="177"/>
                    </a:lnTo>
                    <a:lnTo>
                      <a:pt x="8" y="168"/>
                    </a:lnTo>
                    <a:lnTo>
                      <a:pt x="8" y="159"/>
                    </a:lnTo>
                    <a:lnTo>
                      <a:pt x="0" y="150"/>
                    </a:lnTo>
                    <a:lnTo>
                      <a:pt x="8" y="142"/>
                    </a:lnTo>
                    <a:lnTo>
                      <a:pt x="8" y="133"/>
                    </a:lnTo>
                    <a:lnTo>
                      <a:pt x="8" y="124"/>
                    </a:lnTo>
                    <a:lnTo>
                      <a:pt x="8" y="115"/>
                    </a:lnTo>
                    <a:lnTo>
                      <a:pt x="0" y="115"/>
                    </a:lnTo>
                    <a:lnTo>
                      <a:pt x="0" y="106"/>
                    </a:lnTo>
                    <a:lnTo>
                      <a:pt x="0" y="97"/>
                    </a:lnTo>
                    <a:lnTo>
                      <a:pt x="0" y="97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17" y="80"/>
                    </a:lnTo>
                    <a:lnTo>
                      <a:pt x="26" y="71"/>
                    </a:lnTo>
                    <a:lnTo>
                      <a:pt x="26" y="71"/>
                    </a:lnTo>
                    <a:lnTo>
                      <a:pt x="26" y="62"/>
                    </a:lnTo>
                    <a:lnTo>
                      <a:pt x="26" y="27"/>
                    </a:lnTo>
                    <a:lnTo>
                      <a:pt x="26" y="27"/>
                    </a:lnTo>
                    <a:lnTo>
                      <a:pt x="35" y="18"/>
                    </a:lnTo>
                    <a:lnTo>
                      <a:pt x="35" y="18"/>
                    </a:lnTo>
                    <a:lnTo>
                      <a:pt x="35" y="18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9" name="Freeform 17"/>
              <p:cNvSpPr>
                <a:spLocks/>
              </p:cNvSpPr>
              <p:nvPr/>
            </p:nvSpPr>
            <p:spPr bwMode="auto">
              <a:xfrm>
                <a:off x="1012277" y="1547444"/>
                <a:ext cx="555436" cy="415906"/>
              </a:xfrm>
              <a:custGeom>
                <a:avLst/>
                <a:gdLst/>
                <a:ahLst/>
                <a:cxnLst>
                  <a:cxn ang="0">
                    <a:pos x="18" y="195"/>
                  </a:cxn>
                  <a:cxn ang="0">
                    <a:pos x="9" y="159"/>
                  </a:cxn>
                  <a:cxn ang="0">
                    <a:pos x="18" y="186"/>
                  </a:cxn>
                  <a:cxn ang="0">
                    <a:pos x="18" y="168"/>
                  </a:cxn>
                  <a:cxn ang="0">
                    <a:pos x="18" y="159"/>
                  </a:cxn>
                  <a:cxn ang="0">
                    <a:pos x="9" y="142"/>
                  </a:cxn>
                  <a:cxn ang="0">
                    <a:pos x="27" y="142"/>
                  </a:cxn>
                  <a:cxn ang="0">
                    <a:pos x="9" y="133"/>
                  </a:cxn>
                  <a:cxn ang="0">
                    <a:pos x="18" y="80"/>
                  </a:cxn>
                  <a:cxn ang="0">
                    <a:pos x="9" y="53"/>
                  </a:cxn>
                  <a:cxn ang="0">
                    <a:pos x="9" y="35"/>
                  </a:cxn>
                  <a:cxn ang="0">
                    <a:pos x="18" y="18"/>
                  </a:cxn>
                  <a:cxn ang="0">
                    <a:pos x="44" y="44"/>
                  </a:cxn>
                  <a:cxn ang="0">
                    <a:pos x="71" y="53"/>
                  </a:cxn>
                  <a:cxn ang="0">
                    <a:pos x="88" y="62"/>
                  </a:cxn>
                  <a:cxn ang="0">
                    <a:pos x="97" y="71"/>
                  </a:cxn>
                  <a:cxn ang="0">
                    <a:pos x="106" y="88"/>
                  </a:cxn>
                  <a:cxn ang="0">
                    <a:pos x="97" y="88"/>
                  </a:cxn>
                  <a:cxn ang="0">
                    <a:pos x="71" y="115"/>
                  </a:cxn>
                  <a:cxn ang="0">
                    <a:pos x="80" y="124"/>
                  </a:cxn>
                  <a:cxn ang="0">
                    <a:pos x="97" y="97"/>
                  </a:cxn>
                  <a:cxn ang="0">
                    <a:pos x="106" y="97"/>
                  </a:cxn>
                  <a:cxn ang="0">
                    <a:pos x="97" y="106"/>
                  </a:cxn>
                  <a:cxn ang="0">
                    <a:pos x="97" y="133"/>
                  </a:cxn>
                  <a:cxn ang="0">
                    <a:pos x="88" y="133"/>
                  </a:cxn>
                  <a:cxn ang="0">
                    <a:pos x="88" y="133"/>
                  </a:cxn>
                  <a:cxn ang="0">
                    <a:pos x="71" y="133"/>
                  </a:cxn>
                  <a:cxn ang="0">
                    <a:pos x="80" y="142"/>
                  </a:cxn>
                  <a:cxn ang="0">
                    <a:pos x="97" y="142"/>
                  </a:cxn>
                  <a:cxn ang="0">
                    <a:pos x="115" y="115"/>
                  </a:cxn>
                  <a:cxn ang="0">
                    <a:pos x="115" y="97"/>
                  </a:cxn>
                  <a:cxn ang="0">
                    <a:pos x="124" y="80"/>
                  </a:cxn>
                  <a:cxn ang="0">
                    <a:pos x="124" y="53"/>
                  </a:cxn>
                  <a:cxn ang="0">
                    <a:pos x="124" y="44"/>
                  </a:cxn>
                  <a:cxn ang="0">
                    <a:pos x="132" y="44"/>
                  </a:cxn>
                  <a:cxn ang="0">
                    <a:pos x="124" y="27"/>
                  </a:cxn>
                  <a:cxn ang="0">
                    <a:pos x="124" y="9"/>
                  </a:cxn>
                  <a:cxn ang="0">
                    <a:pos x="370" y="62"/>
                  </a:cxn>
                  <a:cxn ang="0">
                    <a:pos x="379" y="274"/>
                  </a:cxn>
                  <a:cxn ang="0">
                    <a:pos x="379" y="310"/>
                  </a:cxn>
                  <a:cxn ang="0">
                    <a:pos x="256" y="283"/>
                  </a:cxn>
                  <a:cxn ang="0">
                    <a:pos x="229" y="283"/>
                  </a:cxn>
                  <a:cxn ang="0">
                    <a:pos x="185" y="283"/>
                  </a:cxn>
                  <a:cxn ang="0">
                    <a:pos x="159" y="283"/>
                  </a:cxn>
                  <a:cxn ang="0">
                    <a:pos x="132" y="274"/>
                  </a:cxn>
                  <a:cxn ang="0">
                    <a:pos x="106" y="265"/>
                  </a:cxn>
                  <a:cxn ang="0">
                    <a:pos x="88" y="274"/>
                  </a:cxn>
                  <a:cxn ang="0">
                    <a:pos x="62" y="265"/>
                  </a:cxn>
                  <a:cxn ang="0">
                    <a:pos x="53" y="221"/>
                  </a:cxn>
                  <a:cxn ang="0">
                    <a:pos x="36" y="212"/>
                  </a:cxn>
                  <a:cxn ang="0">
                    <a:pos x="27" y="195"/>
                  </a:cxn>
                </a:cxnLst>
                <a:rect l="0" t="0" r="r" b="b"/>
                <a:pathLst>
                  <a:path w="414" h="310">
                    <a:moveTo>
                      <a:pt x="27" y="195"/>
                    </a:moveTo>
                    <a:lnTo>
                      <a:pt x="27" y="195"/>
                    </a:lnTo>
                    <a:lnTo>
                      <a:pt x="27" y="195"/>
                    </a:lnTo>
                    <a:lnTo>
                      <a:pt x="18" y="195"/>
                    </a:lnTo>
                    <a:lnTo>
                      <a:pt x="9" y="195"/>
                    </a:lnTo>
                    <a:lnTo>
                      <a:pt x="9" y="186"/>
                    </a:lnTo>
                    <a:lnTo>
                      <a:pt x="0" y="186"/>
                    </a:lnTo>
                    <a:lnTo>
                      <a:pt x="9" y="159"/>
                    </a:lnTo>
                    <a:lnTo>
                      <a:pt x="9" y="168"/>
                    </a:lnTo>
                    <a:lnTo>
                      <a:pt x="9" y="177"/>
                    </a:lnTo>
                    <a:lnTo>
                      <a:pt x="9" y="177"/>
                    </a:lnTo>
                    <a:lnTo>
                      <a:pt x="18" y="186"/>
                    </a:lnTo>
                    <a:lnTo>
                      <a:pt x="18" y="177"/>
                    </a:lnTo>
                    <a:lnTo>
                      <a:pt x="9" y="177"/>
                    </a:lnTo>
                    <a:lnTo>
                      <a:pt x="18" y="168"/>
                    </a:lnTo>
                    <a:lnTo>
                      <a:pt x="18" y="168"/>
                    </a:lnTo>
                    <a:lnTo>
                      <a:pt x="18" y="159"/>
                    </a:lnTo>
                    <a:lnTo>
                      <a:pt x="27" y="159"/>
                    </a:lnTo>
                    <a:lnTo>
                      <a:pt x="27" y="159"/>
                    </a:lnTo>
                    <a:lnTo>
                      <a:pt x="18" y="159"/>
                    </a:lnTo>
                    <a:lnTo>
                      <a:pt x="9" y="150"/>
                    </a:lnTo>
                    <a:lnTo>
                      <a:pt x="9" y="159"/>
                    </a:lnTo>
                    <a:lnTo>
                      <a:pt x="9" y="150"/>
                    </a:lnTo>
                    <a:lnTo>
                      <a:pt x="9" y="142"/>
                    </a:lnTo>
                    <a:lnTo>
                      <a:pt x="9" y="142"/>
                    </a:lnTo>
                    <a:lnTo>
                      <a:pt x="18" y="142"/>
                    </a:lnTo>
                    <a:lnTo>
                      <a:pt x="27" y="142"/>
                    </a:lnTo>
                    <a:lnTo>
                      <a:pt x="27" y="142"/>
                    </a:lnTo>
                    <a:lnTo>
                      <a:pt x="18" y="133"/>
                    </a:lnTo>
                    <a:lnTo>
                      <a:pt x="18" y="133"/>
                    </a:lnTo>
                    <a:lnTo>
                      <a:pt x="9" y="133"/>
                    </a:lnTo>
                    <a:lnTo>
                      <a:pt x="9" y="133"/>
                    </a:lnTo>
                    <a:lnTo>
                      <a:pt x="9" y="124"/>
                    </a:lnTo>
                    <a:lnTo>
                      <a:pt x="18" y="115"/>
                    </a:lnTo>
                    <a:lnTo>
                      <a:pt x="9" y="97"/>
                    </a:lnTo>
                    <a:lnTo>
                      <a:pt x="18" y="80"/>
                    </a:lnTo>
                    <a:lnTo>
                      <a:pt x="18" y="71"/>
                    </a:lnTo>
                    <a:lnTo>
                      <a:pt x="9" y="62"/>
                    </a:lnTo>
                    <a:lnTo>
                      <a:pt x="9" y="62"/>
                    </a:lnTo>
                    <a:lnTo>
                      <a:pt x="9" y="53"/>
                    </a:lnTo>
                    <a:lnTo>
                      <a:pt x="9" y="44"/>
                    </a:lnTo>
                    <a:lnTo>
                      <a:pt x="9" y="44"/>
                    </a:lnTo>
                    <a:lnTo>
                      <a:pt x="9" y="35"/>
                    </a:lnTo>
                    <a:lnTo>
                      <a:pt x="9" y="35"/>
                    </a:lnTo>
                    <a:lnTo>
                      <a:pt x="9" y="27"/>
                    </a:lnTo>
                    <a:lnTo>
                      <a:pt x="18" y="27"/>
                    </a:lnTo>
                    <a:lnTo>
                      <a:pt x="9" y="18"/>
                    </a:lnTo>
                    <a:lnTo>
                      <a:pt x="18" y="18"/>
                    </a:lnTo>
                    <a:lnTo>
                      <a:pt x="27" y="35"/>
                    </a:lnTo>
                    <a:lnTo>
                      <a:pt x="36" y="35"/>
                    </a:lnTo>
                    <a:lnTo>
                      <a:pt x="36" y="35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62" y="53"/>
                    </a:lnTo>
                    <a:lnTo>
                      <a:pt x="62" y="53"/>
                    </a:lnTo>
                    <a:lnTo>
                      <a:pt x="71" y="53"/>
                    </a:lnTo>
                    <a:lnTo>
                      <a:pt x="80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71"/>
                    </a:lnTo>
                    <a:lnTo>
                      <a:pt x="97" y="71"/>
                    </a:lnTo>
                    <a:lnTo>
                      <a:pt x="97" y="71"/>
                    </a:lnTo>
                    <a:lnTo>
                      <a:pt x="97" y="71"/>
                    </a:lnTo>
                    <a:lnTo>
                      <a:pt x="106" y="62"/>
                    </a:lnTo>
                    <a:lnTo>
                      <a:pt x="106" y="71"/>
                    </a:lnTo>
                    <a:lnTo>
                      <a:pt x="106" y="80"/>
                    </a:lnTo>
                    <a:lnTo>
                      <a:pt x="106" y="88"/>
                    </a:lnTo>
                    <a:lnTo>
                      <a:pt x="97" y="97"/>
                    </a:lnTo>
                    <a:lnTo>
                      <a:pt x="97" y="97"/>
                    </a:lnTo>
                    <a:lnTo>
                      <a:pt x="97" y="97"/>
                    </a:lnTo>
                    <a:lnTo>
                      <a:pt x="97" y="88"/>
                    </a:lnTo>
                    <a:lnTo>
                      <a:pt x="88" y="97"/>
                    </a:lnTo>
                    <a:lnTo>
                      <a:pt x="88" y="106"/>
                    </a:lnTo>
                    <a:lnTo>
                      <a:pt x="80" y="115"/>
                    </a:lnTo>
                    <a:lnTo>
                      <a:pt x="71" y="115"/>
                    </a:lnTo>
                    <a:lnTo>
                      <a:pt x="80" y="124"/>
                    </a:lnTo>
                    <a:lnTo>
                      <a:pt x="88" y="124"/>
                    </a:lnTo>
                    <a:lnTo>
                      <a:pt x="80" y="124"/>
                    </a:lnTo>
                    <a:lnTo>
                      <a:pt x="80" y="124"/>
                    </a:lnTo>
                    <a:lnTo>
                      <a:pt x="80" y="115"/>
                    </a:lnTo>
                    <a:lnTo>
                      <a:pt x="88" y="106"/>
                    </a:lnTo>
                    <a:lnTo>
                      <a:pt x="97" y="106"/>
                    </a:lnTo>
                    <a:lnTo>
                      <a:pt x="97" y="97"/>
                    </a:lnTo>
                    <a:lnTo>
                      <a:pt x="115" y="88"/>
                    </a:lnTo>
                    <a:lnTo>
                      <a:pt x="115" y="88"/>
                    </a:lnTo>
                    <a:lnTo>
                      <a:pt x="115" y="97"/>
                    </a:lnTo>
                    <a:lnTo>
                      <a:pt x="106" y="97"/>
                    </a:lnTo>
                    <a:lnTo>
                      <a:pt x="106" y="97"/>
                    </a:lnTo>
                    <a:lnTo>
                      <a:pt x="106" y="106"/>
                    </a:lnTo>
                    <a:lnTo>
                      <a:pt x="106" y="106"/>
                    </a:lnTo>
                    <a:lnTo>
                      <a:pt x="97" y="106"/>
                    </a:lnTo>
                    <a:lnTo>
                      <a:pt x="97" y="115"/>
                    </a:lnTo>
                    <a:lnTo>
                      <a:pt x="106" y="115"/>
                    </a:lnTo>
                    <a:lnTo>
                      <a:pt x="106" y="115"/>
                    </a:lnTo>
                    <a:lnTo>
                      <a:pt x="97" y="133"/>
                    </a:lnTo>
                    <a:lnTo>
                      <a:pt x="97" y="133"/>
                    </a:lnTo>
                    <a:lnTo>
                      <a:pt x="97" y="124"/>
                    </a:lnTo>
                    <a:lnTo>
                      <a:pt x="97" y="124"/>
                    </a:lnTo>
                    <a:lnTo>
                      <a:pt x="88" y="133"/>
                    </a:lnTo>
                    <a:lnTo>
                      <a:pt x="88" y="142"/>
                    </a:lnTo>
                    <a:lnTo>
                      <a:pt x="88" y="142"/>
                    </a:lnTo>
                    <a:lnTo>
                      <a:pt x="88" y="133"/>
                    </a:lnTo>
                    <a:lnTo>
                      <a:pt x="88" y="133"/>
                    </a:lnTo>
                    <a:lnTo>
                      <a:pt x="88" y="124"/>
                    </a:lnTo>
                    <a:lnTo>
                      <a:pt x="80" y="133"/>
                    </a:lnTo>
                    <a:lnTo>
                      <a:pt x="80" y="133"/>
                    </a:lnTo>
                    <a:lnTo>
                      <a:pt x="71" y="133"/>
                    </a:lnTo>
                    <a:lnTo>
                      <a:pt x="80" y="142"/>
                    </a:lnTo>
                    <a:lnTo>
                      <a:pt x="80" y="142"/>
                    </a:lnTo>
                    <a:lnTo>
                      <a:pt x="80" y="150"/>
                    </a:lnTo>
                    <a:lnTo>
                      <a:pt x="80" y="142"/>
                    </a:lnTo>
                    <a:lnTo>
                      <a:pt x="88" y="142"/>
                    </a:lnTo>
                    <a:lnTo>
                      <a:pt x="88" y="142"/>
                    </a:lnTo>
                    <a:lnTo>
                      <a:pt x="88" y="142"/>
                    </a:lnTo>
                    <a:lnTo>
                      <a:pt x="97" y="142"/>
                    </a:lnTo>
                    <a:lnTo>
                      <a:pt x="97" y="133"/>
                    </a:lnTo>
                    <a:lnTo>
                      <a:pt x="106" y="133"/>
                    </a:lnTo>
                    <a:lnTo>
                      <a:pt x="115" y="124"/>
                    </a:lnTo>
                    <a:lnTo>
                      <a:pt x="115" y="115"/>
                    </a:lnTo>
                    <a:lnTo>
                      <a:pt x="115" y="115"/>
                    </a:lnTo>
                    <a:lnTo>
                      <a:pt x="115" y="106"/>
                    </a:lnTo>
                    <a:lnTo>
                      <a:pt x="124" y="106"/>
                    </a:lnTo>
                    <a:lnTo>
                      <a:pt x="115" y="97"/>
                    </a:lnTo>
                    <a:lnTo>
                      <a:pt x="124" y="88"/>
                    </a:lnTo>
                    <a:lnTo>
                      <a:pt x="132" y="88"/>
                    </a:lnTo>
                    <a:lnTo>
                      <a:pt x="132" y="80"/>
                    </a:lnTo>
                    <a:lnTo>
                      <a:pt x="124" y="80"/>
                    </a:lnTo>
                    <a:lnTo>
                      <a:pt x="124" y="71"/>
                    </a:lnTo>
                    <a:lnTo>
                      <a:pt x="124" y="62"/>
                    </a:lnTo>
                    <a:lnTo>
                      <a:pt x="132" y="62"/>
                    </a:lnTo>
                    <a:lnTo>
                      <a:pt x="124" y="53"/>
                    </a:lnTo>
                    <a:lnTo>
                      <a:pt x="124" y="53"/>
                    </a:lnTo>
                    <a:lnTo>
                      <a:pt x="115" y="53"/>
                    </a:lnTo>
                    <a:lnTo>
                      <a:pt x="115" y="44"/>
                    </a:lnTo>
                    <a:lnTo>
                      <a:pt x="124" y="44"/>
                    </a:lnTo>
                    <a:lnTo>
                      <a:pt x="124" y="44"/>
                    </a:lnTo>
                    <a:lnTo>
                      <a:pt x="132" y="44"/>
                    </a:lnTo>
                    <a:lnTo>
                      <a:pt x="124" y="35"/>
                    </a:lnTo>
                    <a:lnTo>
                      <a:pt x="132" y="44"/>
                    </a:lnTo>
                    <a:lnTo>
                      <a:pt x="132" y="35"/>
                    </a:lnTo>
                    <a:lnTo>
                      <a:pt x="132" y="27"/>
                    </a:lnTo>
                    <a:lnTo>
                      <a:pt x="132" y="27"/>
                    </a:lnTo>
                    <a:lnTo>
                      <a:pt x="124" y="27"/>
                    </a:lnTo>
                    <a:lnTo>
                      <a:pt x="124" y="18"/>
                    </a:lnTo>
                    <a:lnTo>
                      <a:pt x="124" y="18"/>
                    </a:lnTo>
                    <a:lnTo>
                      <a:pt x="124" y="9"/>
                    </a:lnTo>
                    <a:lnTo>
                      <a:pt x="124" y="9"/>
                    </a:lnTo>
                    <a:lnTo>
                      <a:pt x="124" y="0"/>
                    </a:lnTo>
                    <a:lnTo>
                      <a:pt x="194" y="18"/>
                    </a:lnTo>
                    <a:lnTo>
                      <a:pt x="273" y="44"/>
                    </a:lnTo>
                    <a:lnTo>
                      <a:pt x="370" y="62"/>
                    </a:lnTo>
                    <a:lnTo>
                      <a:pt x="414" y="71"/>
                    </a:lnTo>
                    <a:lnTo>
                      <a:pt x="414" y="80"/>
                    </a:lnTo>
                    <a:lnTo>
                      <a:pt x="379" y="256"/>
                    </a:lnTo>
                    <a:lnTo>
                      <a:pt x="379" y="274"/>
                    </a:lnTo>
                    <a:lnTo>
                      <a:pt x="370" y="274"/>
                    </a:lnTo>
                    <a:lnTo>
                      <a:pt x="379" y="283"/>
                    </a:lnTo>
                    <a:lnTo>
                      <a:pt x="370" y="301"/>
                    </a:lnTo>
                    <a:lnTo>
                      <a:pt x="379" y="310"/>
                    </a:lnTo>
                    <a:lnTo>
                      <a:pt x="308" y="292"/>
                    </a:lnTo>
                    <a:lnTo>
                      <a:pt x="264" y="283"/>
                    </a:lnTo>
                    <a:lnTo>
                      <a:pt x="256" y="283"/>
                    </a:lnTo>
                    <a:lnTo>
                      <a:pt x="256" y="283"/>
                    </a:lnTo>
                    <a:lnTo>
                      <a:pt x="247" y="283"/>
                    </a:lnTo>
                    <a:lnTo>
                      <a:pt x="238" y="283"/>
                    </a:lnTo>
                    <a:lnTo>
                      <a:pt x="229" y="283"/>
                    </a:lnTo>
                    <a:lnTo>
                      <a:pt x="229" y="283"/>
                    </a:lnTo>
                    <a:lnTo>
                      <a:pt x="212" y="283"/>
                    </a:lnTo>
                    <a:lnTo>
                      <a:pt x="203" y="283"/>
                    </a:lnTo>
                    <a:lnTo>
                      <a:pt x="194" y="283"/>
                    </a:lnTo>
                    <a:lnTo>
                      <a:pt x="185" y="283"/>
                    </a:lnTo>
                    <a:lnTo>
                      <a:pt x="176" y="283"/>
                    </a:lnTo>
                    <a:lnTo>
                      <a:pt x="176" y="283"/>
                    </a:lnTo>
                    <a:lnTo>
                      <a:pt x="168" y="274"/>
                    </a:lnTo>
                    <a:lnTo>
                      <a:pt x="159" y="283"/>
                    </a:lnTo>
                    <a:lnTo>
                      <a:pt x="150" y="283"/>
                    </a:lnTo>
                    <a:lnTo>
                      <a:pt x="141" y="283"/>
                    </a:lnTo>
                    <a:lnTo>
                      <a:pt x="141" y="274"/>
                    </a:lnTo>
                    <a:lnTo>
                      <a:pt x="132" y="274"/>
                    </a:lnTo>
                    <a:lnTo>
                      <a:pt x="132" y="274"/>
                    </a:lnTo>
                    <a:lnTo>
                      <a:pt x="124" y="265"/>
                    </a:lnTo>
                    <a:lnTo>
                      <a:pt x="115" y="265"/>
                    </a:lnTo>
                    <a:lnTo>
                      <a:pt x="106" y="265"/>
                    </a:lnTo>
                    <a:lnTo>
                      <a:pt x="106" y="265"/>
                    </a:lnTo>
                    <a:lnTo>
                      <a:pt x="97" y="265"/>
                    </a:lnTo>
                    <a:lnTo>
                      <a:pt x="97" y="265"/>
                    </a:lnTo>
                    <a:lnTo>
                      <a:pt x="88" y="274"/>
                    </a:lnTo>
                    <a:lnTo>
                      <a:pt x="80" y="274"/>
                    </a:lnTo>
                    <a:lnTo>
                      <a:pt x="71" y="265"/>
                    </a:lnTo>
                    <a:lnTo>
                      <a:pt x="71" y="265"/>
                    </a:lnTo>
                    <a:lnTo>
                      <a:pt x="62" y="265"/>
                    </a:lnTo>
                    <a:lnTo>
                      <a:pt x="62" y="256"/>
                    </a:lnTo>
                    <a:lnTo>
                      <a:pt x="53" y="256"/>
                    </a:lnTo>
                    <a:lnTo>
                      <a:pt x="62" y="230"/>
                    </a:lnTo>
                    <a:lnTo>
                      <a:pt x="53" y="221"/>
                    </a:lnTo>
                    <a:lnTo>
                      <a:pt x="53" y="212"/>
                    </a:lnTo>
                    <a:lnTo>
                      <a:pt x="44" y="212"/>
                    </a:lnTo>
                    <a:lnTo>
                      <a:pt x="44" y="212"/>
                    </a:lnTo>
                    <a:lnTo>
                      <a:pt x="36" y="212"/>
                    </a:lnTo>
                    <a:lnTo>
                      <a:pt x="36" y="203"/>
                    </a:lnTo>
                    <a:lnTo>
                      <a:pt x="36" y="203"/>
                    </a:lnTo>
                    <a:lnTo>
                      <a:pt x="36" y="203"/>
                    </a:lnTo>
                    <a:lnTo>
                      <a:pt x="27" y="195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0" name="Freeform 51"/>
              <p:cNvSpPr>
                <a:spLocks/>
              </p:cNvSpPr>
              <p:nvPr/>
            </p:nvSpPr>
            <p:spPr bwMode="auto">
              <a:xfrm>
                <a:off x="4246951" y="2341690"/>
                <a:ext cx="496404" cy="320650"/>
              </a:xfrm>
              <a:custGeom>
                <a:avLst/>
                <a:gdLst/>
                <a:ahLst/>
                <a:cxnLst>
                  <a:cxn ang="0">
                    <a:pos x="9" y="62"/>
                  </a:cxn>
                  <a:cxn ang="0">
                    <a:pos x="27" y="45"/>
                  </a:cxn>
                  <a:cxn ang="0">
                    <a:pos x="44" y="36"/>
                  </a:cxn>
                  <a:cxn ang="0">
                    <a:pos x="44" y="54"/>
                  </a:cxn>
                  <a:cxn ang="0">
                    <a:pos x="167" y="27"/>
                  </a:cxn>
                  <a:cxn ang="0">
                    <a:pos x="299" y="0"/>
                  </a:cxn>
                  <a:cxn ang="0">
                    <a:pos x="299" y="9"/>
                  </a:cxn>
                  <a:cxn ang="0">
                    <a:pos x="308" y="9"/>
                  </a:cxn>
                  <a:cxn ang="0">
                    <a:pos x="317" y="27"/>
                  </a:cxn>
                  <a:cxn ang="0">
                    <a:pos x="326" y="36"/>
                  </a:cxn>
                  <a:cxn ang="0">
                    <a:pos x="343" y="36"/>
                  </a:cxn>
                  <a:cxn ang="0">
                    <a:pos x="343" y="45"/>
                  </a:cxn>
                  <a:cxn ang="0">
                    <a:pos x="343" y="54"/>
                  </a:cxn>
                  <a:cxn ang="0">
                    <a:pos x="334" y="71"/>
                  </a:cxn>
                  <a:cxn ang="0">
                    <a:pos x="334" y="80"/>
                  </a:cxn>
                  <a:cxn ang="0">
                    <a:pos x="334" y="89"/>
                  </a:cxn>
                  <a:cxn ang="0">
                    <a:pos x="326" y="98"/>
                  </a:cxn>
                  <a:cxn ang="0">
                    <a:pos x="334" y="107"/>
                  </a:cxn>
                  <a:cxn ang="0">
                    <a:pos x="343" y="115"/>
                  </a:cxn>
                  <a:cxn ang="0">
                    <a:pos x="352" y="124"/>
                  </a:cxn>
                  <a:cxn ang="0">
                    <a:pos x="370" y="133"/>
                  </a:cxn>
                  <a:cxn ang="0">
                    <a:pos x="361" y="142"/>
                  </a:cxn>
                  <a:cxn ang="0">
                    <a:pos x="352" y="151"/>
                  </a:cxn>
                  <a:cxn ang="0">
                    <a:pos x="352" y="151"/>
                  </a:cxn>
                  <a:cxn ang="0">
                    <a:pos x="343" y="160"/>
                  </a:cxn>
                  <a:cxn ang="0">
                    <a:pos x="334" y="168"/>
                  </a:cxn>
                  <a:cxn ang="0">
                    <a:pos x="334" y="168"/>
                  </a:cxn>
                  <a:cxn ang="0">
                    <a:pos x="326" y="168"/>
                  </a:cxn>
                  <a:cxn ang="0">
                    <a:pos x="317" y="177"/>
                  </a:cxn>
                  <a:cxn ang="0">
                    <a:pos x="194" y="213"/>
                  </a:cxn>
                  <a:cxn ang="0">
                    <a:pos x="35" y="239"/>
                  </a:cxn>
                  <a:cxn ang="0">
                    <a:pos x="0" y="62"/>
                  </a:cxn>
                </a:cxnLst>
                <a:rect l="0" t="0" r="r" b="b"/>
                <a:pathLst>
                  <a:path w="370" h="239">
                    <a:moveTo>
                      <a:pt x="0" y="62"/>
                    </a:moveTo>
                    <a:lnTo>
                      <a:pt x="9" y="62"/>
                    </a:lnTo>
                    <a:lnTo>
                      <a:pt x="18" y="54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54"/>
                    </a:lnTo>
                    <a:lnTo>
                      <a:pt x="97" y="45"/>
                    </a:lnTo>
                    <a:lnTo>
                      <a:pt x="167" y="27"/>
                    </a:lnTo>
                    <a:lnTo>
                      <a:pt x="246" y="18"/>
                    </a:lnTo>
                    <a:lnTo>
                      <a:pt x="299" y="0"/>
                    </a:lnTo>
                    <a:lnTo>
                      <a:pt x="299" y="0"/>
                    </a:lnTo>
                    <a:lnTo>
                      <a:pt x="299" y="9"/>
                    </a:lnTo>
                    <a:lnTo>
                      <a:pt x="308" y="9"/>
                    </a:lnTo>
                    <a:lnTo>
                      <a:pt x="308" y="9"/>
                    </a:lnTo>
                    <a:lnTo>
                      <a:pt x="317" y="18"/>
                    </a:lnTo>
                    <a:lnTo>
                      <a:pt x="317" y="27"/>
                    </a:lnTo>
                    <a:lnTo>
                      <a:pt x="326" y="27"/>
                    </a:lnTo>
                    <a:lnTo>
                      <a:pt x="326" y="36"/>
                    </a:lnTo>
                    <a:lnTo>
                      <a:pt x="334" y="36"/>
                    </a:lnTo>
                    <a:lnTo>
                      <a:pt x="343" y="36"/>
                    </a:lnTo>
                    <a:lnTo>
                      <a:pt x="343" y="45"/>
                    </a:lnTo>
                    <a:lnTo>
                      <a:pt x="343" y="45"/>
                    </a:lnTo>
                    <a:lnTo>
                      <a:pt x="343" y="54"/>
                    </a:lnTo>
                    <a:lnTo>
                      <a:pt x="343" y="54"/>
                    </a:lnTo>
                    <a:lnTo>
                      <a:pt x="343" y="62"/>
                    </a:lnTo>
                    <a:lnTo>
                      <a:pt x="334" y="71"/>
                    </a:lnTo>
                    <a:lnTo>
                      <a:pt x="326" y="80"/>
                    </a:lnTo>
                    <a:lnTo>
                      <a:pt x="334" y="80"/>
                    </a:lnTo>
                    <a:lnTo>
                      <a:pt x="334" y="80"/>
                    </a:lnTo>
                    <a:lnTo>
                      <a:pt x="334" y="89"/>
                    </a:lnTo>
                    <a:lnTo>
                      <a:pt x="334" y="89"/>
                    </a:lnTo>
                    <a:lnTo>
                      <a:pt x="326" y="98"/>
                    </a:lnTo>
                    <a:lnTo>
                      <a:pt x="334" y="107"/>
                    </a:lnTo>
                    <a:lnTo>
                      <a:pt x="334" y="107"/>
                    </a:lnTo>
                    <a:lnTo>
                      <a:pt x="343" y="115"/>
                    </a:lnTo>
                    <a:lnTo>
                      <a:pt x="343" y="115"/>
                    </a:lnTo>
                    <a:lnTo>
                      <a:pt x="343" y="124"/>
                    </a:lnTo>
                    <a:lnTo>
                      <a:pt x="352" y="124"/>
                    </a:lnTo>
                    <a:lnTo>
                      <a:pt x="352" y="124"/>
                    </a:lnTo>
                    <a:lnTo>
                      <a:pt x="370" y="133"/>
                    </a:lnTo>
                    <a:lnTo>
                      <a:pt x="361" y="142"/>
                    </a:lnTo>
                    <a:lnTo>
                      <a:pt x="361" y="142"/>
                    </a:lnTo>
                    <a:lnTo>
                      <a:pt x="352" y="151"/>
                    </a:lnTo>
                    <a:lnTo>
                      <a:pt x="352" y="151"/>
                    </a:lnTo>
                    <a:lnTo>
                      <a:pt x="352" y="151"/>
                    </a:lnTo>
                    <a:lnTo>
                      <a:pt x="352" y="151"/>
                    </a:lnTo>
                    <a:lnTo>
                      <a:pt x="343" y="160"/>
                    </a:lnTo>
                    <a:lnTo>
                      <a:pt x="343" y="160"/>
                    </a:lnTo>
                    <a:lnTo>
                      <a:pt x="343" y="168"/>
                    </a:lnTo>
                    <a:lnTo>
                      <a:pt x="334" y="168"/>
                    </a:lnTo>
                    <a:lnTo>
                      <a:pt x="334" y="177"/>
                    </a:lnTo>
                    <a:lnTo>
                      <a:pt x="334" y="168"/>
                    </a:lnTo>
                    <a:lnTo>
                      <a:pt x="326" y="168"/>
                    </a:lnTo>
                    <a:lnTo>
                      <a:pt x="326" y="168"/>
                    </a:lnTo>
                    <a:lnTo>
                      <a:pt x="317" y="177"/>
                    </a:lnTo>
                    <a:lnTo>
                      <a:pt x="317" y="177"/>
                    </a:lnTo>
                    <a:lnTo>
                      <a:pt x="317" y="186"/>
                    </a:lnTo>
                    <a:lnTo>
                      <a:pt x="194" y="213"/>
                    </a:lnTo>
                    <a:lnTo>
                      <a:pt x="97" y="230"/>
                    </a:lnTo>
                    <a:lnTo>
                      <a:pt x="35" y="239"/>
                    </a:lnTo>
                    <a:lnTo>
                      <a:pt x="18" y="168"/>
                    </a:lnTo>
                    <a:lnTo>
                      <a:pt x="0" y="62"/>
                    </a:lnTo>
                    <a:lnTo>
                      <a:pt x="0" y="62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1" name="Freeform 59"/>
              <p:cNvSpPr>
                <a:spLocks/>
              </p:cNvSpPr>
              <p:nvPr/>
            </p:nvSpPr>
            <p:spPr bwMode="auto">
              <a:xfrm>
                <a:off x="2453189" y="1772838"/>
                <a:ext cx="554094" cy="343458"/>
              </a:xfrm>
              <a:custGeom>
                <a:avLst/>
                <a:gdLst/>
                <a:ahLst/>
                <a:cxnLst>
                  <a:cxn ang="0">
                    <a:pos x="0" y="239"/>
                  </a:cxn>
                  <a:cxn ang="0">
                    <a:pos x="17" y="0"/>
                  </a:cxn>
                  <a:cxn ang="0">
                    <a:pos x="17" y="0"/>
                  </a:cxn>
                  <a:cxn ang="0">
                    <a:pos x="97" y="9"/>
                  </a:cxn>
                  <a:cxn ang="0">
                    <a:pos x="220" y="9"/>
                  </a:cxn>
                  <a:cxn ang="0">
                    <a:pos x="325" y="18"/>
                  </a:cxn>
                  <a:cxn ang="0">
                    <a:pos x="378" y="18"/>
                  </a:cxn>
                  <a:cxn ang="0">
                    <a:pos x="369" y="18"/>
                  </a:cxn>
                  <a:cxn ang="0">
                    <a:pos x="369" y="18"/>
                  </a:cxn>
                  <a:cxn ang="0">
                    <a:pos x="378" y="18"/>
                  </a:cxn>
                  <a:cxn ang="0">
                    <a:pos x="378" y="35"/>
                  </a:cxn>
                  <a:cxn ang="0">
                    <a:pos x="378" y="44"/>
                  </a:cxn>
                  <a:cxn ang="0">
                    <a:pos x="378" y="53"/>
                  </a:cxn>
                  <a:cxn ang="0">
                    <a:pos x="378" y="62"/>
                  </a:cxn>
                  <a:cxn ang="0">
                    <a:pos x="378" y="62"/>
                  </a:cxn>
                  <a:cxn ang="0">
                    <a:pos x="378" y="71"/>
                  </a:cxn>
                  <a:cxn ang="0">
                    <a:pos x="378" y="80"/>
                  </a:cxn>
                  <a:cxn ang="0">
                    <a:pos x="378" y="80"/>
                  </a:cxn>
                  <a:cxn ang="0">
                    <a:pos x="387" y="97"/>
                  </a:cxn>
                  <a:cxn ang="0">
                    <a:pos x="387" y="106"/>
                  </a:cxn>
                  <a:cxn ang="0">
                    <a:pos x="396" y="115"/>
                  </a:cxn>
                  <a:cxn ang="0">
                    <a:pos x="396" y="133"/>
                  </a:cxn>
                  <a:cxn ang="0">
                    <a:pos x="396" y="133"/>
                  </a:cxn>
                  <a:cxn ang="0">
                    <a:pos x="396" y="142"/>
                  </a:cxn>
                  <a:cxn ang="0">
                    <a:pos x="396" y="142"/>
                  </a:cxn>
                  <a:cxn ang="0">
                    <a:pos x="396" y="150"/>
                  </a:cxn>
                  <a:cxn ang="0">
                    <a:pos x="396" y="168"/>
                  </a:cxn>
                  <a:cxn ang="0">
                    <a:pos x="396" y="168"/>
                  </a:cxn>
                  <a:cxn ang="0">
                    <a:pos x="396" y="177"/>
                  </a:cxn>
                  <a:cxn ang="0">
                    <a:pos x="396" y="186"/>
                  </a:cxn>
                  <a:cxn ang="0">
                    <a:pos x="396" y="203"/>
                  </a:cxn>
                  <a:cxn ang="0">
                    <a:pos x="396" y="203"/>
                  </a:cxn>
                  <a:cxn ang="0">
                    <a:pos x="396" y="212"/>
                  </a:cxn>
                  <a:cxn ang="0">
                    <a:pos x="404" y="212"/>
                  </a:cxn>
                  <a:cxn ang="0">
                    <a:pos x="404" y="221"/>
                  </a:cxn>
                  <a:cxn ang="0">
                    <a:pos x="404" y="230"/>
                  </a:cxn>
                  <a:cxn ang="0">
                    <a:pos x="404" y="239"/>
                  </a:cxn>
                  <a:cxn ang="0">
                    <a:pos x="413" y="248"/>
                  </a:cxn>
                  <a:cxn ang="0">
                    <a:pos x="413" y="248"/>
                  </a:cxn>
                  <a:cxn ang="0">
                    <a:pos x="413" y="256"/>
                  </a:cxn>
                  <a:cxn ang="0">
                    <a:pos x="308" y="256"/>
                  </a:cxn>
                  <a:cxn ang="0">
                    <a:pos x="211" y="256"/>
                  </a:cxn>
                  <a:cxn ang="0">
                    <a:pos x="97" y="248"/>
                  </a:cxn>
                  <a:cxn ang="0">
                    <a:pos x="0" y="239"/>
                  </a:cxn>
                </a:cxnLst>
                <a:rect l="0" t="0" r="r" b="b"/>
                <a:pathLst>
                  <a:path w="413" h="256">
                    <a:moveTo>
                      <a:pt x="0" y="239"/>
                    </a:moveTo>
                    <a:lnTo>
                      <a:pt x="17" y="0"/>
                    </a:lnTo>
                    <a:lnTo>
                      <a:pt x="17" y="0"/>
                    </a:lnTo>
                    <a:lnTo>
                      <a:pt x="97" y="9"/>
                    </a:lnTo>
                    <a:lnTo>
                      <a:pt x="220" y="9"/>
                    </a:lnTo>
                    <a:lnTo>
                      <a:pt x="325" y="18"/>
                    </a:lnTo>
                    <a:lnTo>
                      <a:pt x="378" y="18"/>
                    </a:lnTo>
                    <a:lnTo>
                      <a:pt x="369" y="18"/>
                    </a:lnTo>
                    <a:lnTo>
                      <a:pt x="369" y="18"/>
                    </a:lnTo>
                    <a:lnTo>
                      <a:pt x="378" y="18"/>
                    </a:lnTo>
                    <a:lnTo>
                      <a:pt x="378" y="35"/>
                    </a:lnTo>
                    <a:lnTo>
                      <a:pt x="378" y="44"/>
                    </a:lnTo>
                    <a:lnTo>
                      <a:pt x="378" y="53"/>
                    </a:lnTo>
                    <a:lnTo>
                      <a:pt x="378" y="62"/>
                    </a:lnTo>
                    <a:lnTo>
                      <a:pt x="378" y="62"/>
                    </a:lnTo>
                    <a:lnTo>
                      <a:pt x="378" y="71"/>
                    </a:lnTo>
                    <a:lnTo>
                      <a:pt x="378" y="80"/>
                    </a:lnTo>
                    <a:lnTo>
                      <a:pt x="378" y="80"/>
                    </a:lnTo>
                    <a:lnTo>
                      <a:pt x="387" y="97"/>
                    </a:lnTo>
                    <a:lnTo>
                      <a:pt x="387" y="106"/>
                    </a:lnTo>
                    <a:lnTo>
                      <a:pt x="396" y="115"/>
                    </a:lnTo>
                    <a:lnTo>
                      <a:pt x="396" y="133"/>
                    </a:lnTo>
                    <a:lnTo>
                      <a:pt x="396" y="133"/>
                    </a:lnTo>
                    <a:lnTo>
                      <a:pt x="396" y="142"/>
                    </a:lnTo>
                    <a:lnTo>
                      <a:pt x="396" y="142"/>
                    </a:lnTo>
                    <a:lnTo>
                      <a:pt x="396" y="150"/>
                    </a:lnTo>
                    <a:lnTo>
                      <a:pt x="396" y="168"/>
                    </a:lnTo>
                    <a:lnTo>
                      <a:pt x="396" y="168"/>
                    </a:lnTo>
                    <a:lnTo>
                      <a:pt x="396" y="177"/>
                    </a:lnTo>
                    <a:lnTo>
                      <a:pt x="396" y="186"/>
                    </a:lnTo>
                    <a:lnTo>
                      <a:pt x="396" y="203"/>
                    </a:lnTo>
                    <a:lnTo>
                      <a:pt x="396" y="203"/>
                    </a:lnTo>
                    <a:lnTo>
                      <a:pt x="396" y="212"/>
                    </a:lnTo>
                    <a:lnTo>
                      <a:pt x="404" y="212"/>
                    </a:lnTo>
                    <a:lnTo>
                      <a:pt x="404" y="221"/>
                    </a:lnTo>
                    <a:lnTo>
                      <a:pt x="404" y="230"/>
                    </a:lnTo>
                    <a:lnTo>
                      <a:pt x="404" y="239"/>
                    </a:lnTo>
                    <a:lnTo>
                      <a:pt x="413" y="248"/>
                    </a:lnTo>
                    <a:lnTo>
                      <a:pt x="413" y="248"/>
                    </a:lnTo>
                    <a:lnTo>
                      <a:pt x="413" y="256"/>
                    </a:lnTo>
                    <a:lnTo>
                      <a:pt x="308" y="256"/>
                    </a:lnTo>
                    <a:lnTo>
                      <a:pt x="211" y="256"/>
                    </a:lnTo>
                    <a:lnTo>
                      <a:pt x="97" y="248"/>
                    </a:lnTo>
                    <a:lnTo>
                      <a:pt x="0" y="239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grpSp>
            <p:nvGrpSpPr>
              <p:cNvPr id="12" name="Group 655"/>
              <p:cNvGrpSpPr/>
              <p:nvPr/>
            </p:nvGrpSpPr>
            <p:grpSpPr>
              <a:xfrm>
                <a:off x="4305977" y="1998232"/>
                <a:ext cx="625199" cy="474938"/>
                <a:chOff x="4630738" y="1803401"/>
                <a:chExt cx="739775" cy="561976"/>
              </a:xfrm>
              <a:grpFill/>
            </p:grpSpPr>
            <p:sp>
              <p:nvSpPr>
                <p:cNvPr id="20" name="Freeform 75"/>
                <p:cNvSpPr>
                  <a:spLocks/>
                </p:cNvSpPr>
                <p:nvPr/>
              </p:nvSpPr>
              <p:spPr bwMode="auto">
                <a:xfrm>
                  <a:off x="4630738" y="1803401"/>
                  <a:ext cx="587375" cy="533400"/>
                </a:xfrm>
                <a:custGeom>
                  <a:avLst/>
                  <a:gdLst/>
                  <a:ahLst/>
                  <a:cxnLst>
                    <a:cxn ang="0">
                      <a:pos x="0" y="292"/>
                    </a:cxn>
                    <a:cxn ang="0">
                      <a:pos x="18" y="265"/>
                    </a:cxn>
                    <a:cxn ang="0">
                      <a:pos x="27" y="256"/>
                    </a:cxn>
                    <a:cxn ang="0">
                      <a:pos x="44" y="239"/>
                    </a:cxn>
                    <a:cxn ang="0">
                      <a:pos x="35" y="221"/>
                    </a:cxn>
                    <a:cxn ang="0">
                      <a:pos x="35" y="221"/>
                    </a:cxn>
                    <a:cxn ang="0">
                      <a:pos x="27" y="212"/>
                    </a:cxn>
                    <a:cxn ang="0">
                      <a:pos x="27" y="203"/>
                    </a:cxn>
                    <a:cxn ang="0">
                      <a:pos x="35" y="195"/>
                    </a:cxn>
                    <a:cxn ang="0">
                      <a:pos x="44" y="195"/>
                    </a:cxn>
                    <a:cxn ang="0">
                      <a:pos x="71" y="186"/>
                    </a:cxn>
                    <a:cxn ang="0">
                      <a:pos x="106" y="186"/>
                    </a:cxn>
                    <a:cxn ang="0">
                      <a:pos x="132" y="177"/>
                    </a:cxn>
                    <a:cxn ang="0">
                      <a:pos x="141" y="177"/>
                    </a:cxn>
                    <a:cxn ang="0">
                      <a:pos x="150" y="177"/>
                    </a:cxn>
                    <a:cxn ang="0">
                      <a:pos x="158" y="159"/>
                    </a:cxn>
                    <a:cxn ang="0">
                      <a:pos x="167" y="150"/>
                    </a:cxn>
                    <a:cxn ang="0">
                      <a:pos x="176" y="150"/>
                    </a:cxn>
                    <a:cxn ang="0">
                      <a:pos x="176" y="142"/>
                    </a:cxn>
                    <a:cxn ang="0">
                      <a:pos x="167" y="124"/>
                    </a:cxn>
                    <a:cxn ang="0">
                      <a:pos x="176" y="115"/>
                    </a:cxn>
                    <a:cxn ang="0">
                      <a:pos x="176" y="115"/>
                    </a:cxn>
                    <a:cxn ang="0">
                      <a:pos x="167" y="106"/>
                    </a:cxn>
                    <a:cxn ang="0">
                      <a:pos x="167" y="115"/>
                    </a:cxn>
                    <a:cxn ang="0">
                      <a:pos x="158" y="106"/>
                    </a:cxn>
                    <a:cxn ang="0">
                      <a:pos x="176" y="88"/>
                    </a:cxn>
                    <a:cxn ang="0">
                      <a:pos x="185" y="80"/>
                    </a:cxn>
                    <a:cxn ang="0">
                      <a:pos x="202" y="44"/>
                    </a:cxn>
                    <a:cxn ang="0">
                      <a:pos x="229" y="18"/>
                    </a:cxn>
                    <a:cxn ang="0">
                      <a:pos x="273" y="9"/>
                    </a:cxn>
                    <a:cxn ang="0">
                      <a:pos x="308" y="0"/>
                    </a:cxn>
                    <a:cxn ang="0">
                      <a:pos x="308" y="9"/>
                    </a:cxn>
                    <a:cxn ang="0">
                      <a:pos x="317" y="27"/>
                    </a:cxn>
                    <a:cxn ang="0">
                      <a:pos x="326" y="35"/>
                    </a:cxn>
                    <a:cxn ang="0">
                      <a:pos x="326" y="44"/>
                    </a:cxn>
                    <a:cxn ang="0">
                      <a:pos x="326" y="62"/>
                    </a:cxn>
                    <a:cxn ang="0">
                      <a:pos x="326" y="71"/>
                    </a:cxn>
                    <a:cxn ang="0">
                      <a:pos x="326" y="88"/>
                    </a:cxn>
                    <a:cxn ang="0">
                      <a:pos x="334" y="106"/>
                    </a:cxn>
                    <a:cxn ang="0">
                      <a:pos x="334" y="106"/>
                    </a:cxn>
                    <a:cxn ang="0">
                      <a:pos x="352" y="159"/>
                    </a:cxn>
                    <a:cxn ang="0">
                      <a:pos x="361" y="168"/>
                    </a:cxn>
                    <a:cxn ang="0">
                      <a:pos x="361" y="221"/>
                    </a:cxn>
                    <a:cxn ang="0">
                      <a:pos x="370" y="283"/>
                    </a:cxn>
                    <a:cxn ang="0">
                      <a:pos x="370" y="292"/>
                    </a:cxn>
                    <a:cxn ang="0">
                      <a:pos x="361" y="310"/>
                    </a:cxn>
                    <a:cxn ang="0">
                      <a:pos x="361" y="318"/>
                    </a:cxn>
                    <a:cxn ang="0">
                      <a:pos x="361" y="327"/>
                    </a:cxn>
                    <a:cxn ang="0">
                      <a:pos x="352" y="336"/>
                    </a:cxn>
                    <a:cxn ang="0">
                      <a:pos x="352" y="310"/>
                    </a:cxn>
                    <a:cxn ang="0">
                      <a:pos x="343" y="301"/>
                    </a:cxn>
                    <a:cxn ang="0">
                      <a:pos x="343" y="292"/>
                    </a:cxn>
                    <a:cxn ang="0">
                      <a:pos x="352" y="301"/>
                    </a:cxn>
                    <a:cxn ang="0">
                      <a:pos x="299" y="301"/>
                    </a:cxn>
                    <a:cxn ang="0">
                      <a:pos x="299" y="292"/>
                    </a:cxn>
                    <a:cxn ang="0">
                      <a:pos x="282" y="292"/>
                    </a:cxn>
                    <a:cxn ang="0">
                      <a:pos x="273" y="283"/>
                    </a:cxn>
                    <a:cxn ang="0">
                      <a:pos x="264" y="265"/>
                    </a:cxn>
                    <a:cxn ang="0">
                      <a:pos x="255" y="265"/>
                    </a:cxn>
                    <a:cxn ang="0">
                      <a:pos x="255" y="256"/>
                    </a:cxn>
                    <a:cxn ang="0">
                      <a:pos x="123" y="283"/>
                    </a:cxn>
                    <a:cxn ang="0">
                      <a:pos x="0" y="310"/>
                    </a:cxn>
                    <a:cxn ang="0">
                      <a:pos x="0" y="292"/>
                    </a:cxn>
                  </a:cxnLst>
                  <a:rect l="0" t="0" r="r" b="b"/>
                  <a:pathLst>
                    <a:path w="370" h="336">
                      <a:moveTo>
                        <a:pt x="0" y="292"/>
                      </a:moveTo>
                      <a:lnTo>
                        <a:pt x="0" y="292"/>
                      </a:lnTo>
                      <a:lnTo>
                        <a:pt x="9" y="274"/>
                      </a:lnTo>
                      <a:lnTo>
                        <a:pt x="18" y="265"/>
                      </a:lnTo>
                      <a:lnTo>
                        <a:pt x="27" y="256"/>
                      </a:lnTo>
                      <a:lnTo>
                        <a:pt x="27" y="256"/>
                      </a:lnTo>
                      <a:lnTo>
                        <a:pt x="35" y="248"/>
                      </a:lnTo>
                      <a:lnTo>
                        <a:pt x="44" y="239"/>
                      </a:lnTo>
                      <a:lnTo>
                        <a:pt x="44" y="239"/>
                      </a:lnTo>
                      <a:lnTo>
                        <a:pt x="35" y="221"/>
                      </a:lnTo>
                      <a:lnTo>
                        <a:pt x="35" y="221"/>
                      </a:lnTo>
                      <a:lnTo>
                        <a:pt x="35" y="221"/>
                      </a:lnTo>
                      <a:lnTo>
                        <a:pt x="27" y="212"/>
                      </a:lnTo>
                      <a:lnTo>
                        <a:pt x="27" y="212"/>
                      </a:lnTo>
                      <a:lnTo>
                        <a:pt x="27" y="203"/>
                      </a:lnTo>
                      <a:lnTo>
                        <a:pt x="27" y="203"/>
                      </a:lnTo>
                      <a:lnTo>
                        <a:pt x="27" y="203"/>
                      </a:lnTo>
                      <a:lnTo>
                        <a:pt x="35" y="195"/>
                      </a:lnTo>
                      <a:lnTo>
                        <a:pt x="35" y="195"/>
                      </a:lnTo>
                      <a:lnTo>
                        <a:pt x="44" y="195"/>
                      </a:lnTo>
                      <a:lnTo>
                        <a:pt x="53" y="186"/>
                      </a:lnTo>
                      <a:lnTo>
                        <a:pt x="71" y="186"/>
                      </a:lnTo>
                      <a:lnTo>
                        <a:pt x="97" y="186"/>
                      </a:lnTo>
                      <a:lnTo>
                        <a:pt x="106" y="186"/>
                      </a:lnTo>
                      <a:lnTo>
                        <a:pt x="114" y="186"/>
                      </a:lnTo>
                      <a:lnTo>
                        <a:pt x="132" y="177"/>
                      </a:lnTo>
                      <a:lnTo>
                        <a:pt x="141" y="177"/>
                      </a:lnTo>
                      <a:lnTo>
                        <a:pt x="141" y="177"/>
                      </a:lnTo>
                      <a:lnTo>
                        <a:pt x="150" y="177"/>
                      </a:lnTo>
                      <a:lnTo>
                        <a:pt x="150" y="177"/>
                      </a:lnTo>
                      <a:lnTo>
                        <a:pt x="158" y="168"/>
                      </a:lnTo>
                      <a:lnTo>
                        <a:pt x="158" y="159"/>
                      </a:lnTo>
                      <a:lnTo>
                        <a:pt x="167" y="159"/>
                      </a:lnTo>
                      <a:lnTo>
                        <a:pt x="167" y="150"/>
                      </a:lnTo>
                      <a:lnTo>
                        <a:pt x="176" y="150"/>
                      </a:lnTo>
                      <a:lnTo>
                        <a:pt x="176" y="150"/>
                      </a:lnTo>
                      <a:lnTo>
                        <a:pt x="176" y="142"/>
                      </a:lnTo>
                      <a:lnTo>
                        <a:pt x="176" y="142"/>
                      </a:lnTo>
                      <a:lnTo>
                        <a:pt x="176" y="133"/>
                      </a:lnTo>
                      <a:lnTo>
                        <a:pt x="167" y="124"/>
                      </a:lnTo>
                      <a:lnTo>
                        <a:pt x="176" y="124"/>
                      </a:lnTo>
                      <a:lnTo>
                        <a:pt x="176" y="115"/>
                      </a:lnTo>
                      <a:lnTo>
                        <a:pt x="176" y="115"/>
                      </a:lnTo>
                      <a:lnTo>
                        <a:pt x="176" y="115"/>
                      </a:lnTo>
                      <a:lnTo>
                        <a:pt x="167" y="106"/>
                      </a:lnTo>
                      <a:lnTo>
                        <a:pt x="167" y="106"/>
                      </a:lnTo>
                      <a:lnTo>
                        <a:pt x="167" y="115"/>
                      </a:lnTo>
                      <a:lnTo>
                        <a:pt x="167" y="115"/>
                      </a:lnTo>
                      <a:lnTo>
                        <a:pt x="158" y="106"/>
                      </a:lnTo>
                      <a:lnTo>
                        <a:pt x="158" y="106"/>
                      </a:lnTo>
                      <a:lnTo>
                        <a:pt x="167" y="97"/>
                      </a:lnTo>
                      <a:lnTo>
                        <a:pt x="176" y="88"/>
                      </a:lnTo>
                      <a:lnTo>
                        <a:pt x="176" y="88"/>
                      </a:lnTo>
                      <a:lnTo>
                        <a:pt x="185" y="80"/>
                      </a:lnTo>
                      <a:lnTo>
                        <a:pt x="185" y="71"/>
                      </a:lnTo>
                      <a:lnTo>
                        <a:pt x="202" y="44"/>
                      </a:lnTo>
                      <a:lnTo>
                        <a:pt x="220" y="27"/>
                      </a:lnTo>
                      <a:lnTo>
                        <a:pt x="229" y="18"/>
                      </a:lnTo>
                      <a:lnTo>
                        <a:pt x="238" y="18"/>
                      </a:lnTo>
                      <a:lnTo>
                        <a:pt x="273" y="9"/>
                      </a:lnTo>
                      <a:lnTo>
                        <a:pt x="308" y="0"/>
                      </a:lnTo>
                      <a:lnTo>
                        <a:pt x="308" y="0"/>
                      </a:lnTo>
                      <a:lnTo>
                        <a:pt x="308" y="9"/>
                      </a:lnTo>
                      <a:lnTo>
                        <a:pt x="308" y="9"/>
                      </a:lnTo>
                      <a:lnTo>
                        <a:pt x="317" y="18"/>
                      </a:lnTo>
                      <a:lnTo>
                        <a:pt x="317" y="27"/>
                      </a:lnTo>
                      <a:lnTo>
                        <a:pt x="317" y="35"/>
                      </a:lnTo>
                      <a:lnTo>
                        <a:pt x="326" y="35"/>
                      </a:lnTo>
                      <a:lnTo>
                        <a:pt x="326" y="44"/>
                      </a:lnTo>
                      <a:lnTo>
                        <a:pt x="326" y="44"/>
                      </a:lnTo>
                      <a:lnTo>
                        <a:pt x="326" y="53"/>
                      </a:lnTo>
                      <a:lnTo>
                        <a:pt x="326" y="62"/>
                      </a:lnTo>
                      <a:lnTo>
                        <a:pt x="326" y="62"/>
                      </a:lnTo>
                      <a:lnTo>
                        <a:pt x="326" y="71"/>
                      </a:lnTo>
                      <a:lnTo>
                        <a:pt x="326" y="80"/>
                      </a:lnTo>
                      <a:lnTo>
                        <a:pt x="326" y="88"/>
                      </a:lnTo>
                      <a:lnTo>
                        <a:pt x="334" y="97"/>
                      </a:lnTo>
                      <a:lnTo>
                        <a:pt x="334" y="106"/>
                      </a:lnTo>
                      <a:lnTo>
                        <a:pt x="334" y="115"/>
                      </a:lnTo>
                      <a:lnTo>
                        <a:pt x="334" y="106"/>
                      </a:lnTo>
                      <a:lnTo>
                        <a:pt x="343" y="115"/>
                      </a:lnTo>
                      <a:lnTo>
                        <a:pt x="352" y="159"/>
                      </a:lnTo>
                      <a:lnTo>
                        <a:pt x="352" y="168"/>
                      </a:lnTo>
                      <a:lnTo>
                        <a:pt x="361" y="168"/>
                      </a:lnTo>
                      <a:lnTo>
                        <a:pt x="361" y="177"/>
                      </a:lnTo>
                      <a:lnTo>
                        <a:pt x="361" y="221"/>
                      </a:lnTo>
                      <a:lnTo>
                        <a:pt x="361" y="230"/>
                      </a:lnTo>
                      <a:lnTo>
                        <a:pt x="370" y="283"/>
                      </a:lnTo>
                      <a:lnTo>
                        <a:pt x="370" y="292"/>
                      </a:lnTo>
                      <a:lnTo>
                        <a:pt x="370" y="292"/>
                      </a:lnTo>
                      <a:lnTo>
                        <a:pt x="361" y="301"/>
                      </a:lnTo>
                      <a:lnTo>
                        <a:pt x="361" y="310"/>
                      </a:lnTo>
                      <a:lnTo>
                        <a:pt x="370" y="310"/>
                      </a:lnTo>
                      <a:lnTo>
                        <a:pt x="361" y="318"/>
                      </a:lnTo>
                      <a:lnTo>
                        <a:pt x="361" y="327"/>
                      </a:lnTo>
                      <a:lnTo>
                        <a:pt x="361" y="327"/>
                      </a:lnTo>
                      <a:lnTo>
                        <a:pt x="352" y="336"/>
                      </a:lnTo>
                      <a:lnTo>
                        <a:pt x="352" y="336"/>
                      </a:lnTo>
                      <a:lnTo>
                        <a:pt x="352" y="327"/>
                      </a:lnTo>
                      <a:lnTo>
                        <a:pt x="352" y="310"/>
                      </a:lnTo>
                      <a:lnTo>
                        <a:pt x="352" y="301"/>
                      </a:lnTo>
                      <a:lnTo>
                        <a:pt x="343" y="301"/>
                      </a:lnTo>
                      <a:lnTo>
                        <a:pt x="343" y="292"/>
                      </a:lnTo>
                      <a:lnTo>
                        <a:pt x="343" y="292"/>
                      </a:lnTo>
                      <a:lnTo>
                        <a:pt x="343" y="301"/>
                      </a:lnTo>
                      <a:lnTo>
                        <a:pt x="352" y="301"/>
                      </a:lnTo>
                      <a:lnTo>
                        <a:pt x="352" y="318"/>
                      </a:lnTo>
                      <a:lnTo>
                        <a:pt x="299" y="301"/>
                      </a:lnTo>
                      <a:lnTo>
                        <a:pt x="299" y="301"/>
                      </a:lnTo>
                      <a:lnTo>
                        <a:pt x="299" y="292"/>
                      </a:lnTo>
                      <a:lnTo>
                        <a:pt x="290" y="292"/>
                      </a:lnTo>
                      <a:lnTo>
                        <a:pt x="282" y="292"/>
                      </a:lnTo>
                      <a:lnTo>
                        <a:pt x="282" y="283"/>
                      </a:lnTo>
                      <a:lnTo>
                        <a:pt x="273" y="283"/>
                      </a:lnTo>
                      <a:lnTo>
                        <a:pt x="273" y="274"/>
                      </a:lnTo>
                      <a:lnTo>
                        <a:pt x="264" y="265"/>
                      </a:lnTo>
                      <a:lnTo>
                        <a:pt x="264" y="265"/>
                      </a:lnTo>
                      <a:lnTo>
                        <a:pt x="255" y="265"/>
                      </a:lnTo>
                      <a:lnTo>
                        <a:pt x="255" y="256"/>
                      </a:lnTo>
                      <a:lnTo>
                        <a:pt x="255" y="256"/>
                      </a:lnTo>
                      <a:lnTo>
                        <a:pt x="202" y="274"/>
                      </a:lnTo>
                      <a:lnTo>
                        <a:pt x="123" y="283"/>
                      </a:lnTo>
                      <a:lnTo>
                        <a:pt x="53" y="301"/>
                      </a:lnTo>
                      <a:lnTo>
                        <a:pt x="0" y="310"/>
                      </a:lnTo>
                      <a:lnTo>
                        <a:pt x="0" y="292"/>
                      </a:lnTo>
                      <a:lnTo>
                        <a:pt x="0" y="292"/>
                      </a:lnTo>
                      <a:close/>
                    </a:path>
                  </a:pathLst>
                </a:custGeom>
                <a:solidFill>
                  <a:schemeClr val="bg2">
                    <a:lumMod val="90000"/>
                  </a:schemeClr>
                </a:solidFill>
                <a:ln w="9525">
                  <a:solidFill>
                    <a:srgbClr val="FFFFFF">
                      <a:lumMod val="65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kern="0">
                    <a:solidFill>
                      <a:srgbClr val="262626"/>
                    </a:solidFill>
                    <a:latin typeface="Roboto Condensed"/>
                  </a:endParaRPr>
                </a:p>
              </p:txBody>
            </p:sp>
            <p:sp>
              <p:nvSpPr>
                <p:cNvPr id="21" name="Freeform 77"/>
                <p:cNvSpPr>
                  <a:spLocks/>
                </p:cNvSpPr>
                <p:nvPr/>
              </p:nvSpPr>
              <p:spPr bwMode="auto">
                <a:xfrm>
                  <a:off x="5189538" y="2252664"/>
                  <a:ext cx="180975" cy="112713"/>
                </a:xfrm>
                <a:custGeom>
                  <a:avLst/>
                  <a:gdLst/>
                  <a:ahLst/>
                  <a:cxnLst>
                    <a:cxn ang="0">
                      <a:pos x="35" y="53"/>
                    </a:cxn>
                    <a:cxn ang="0">
                      <a:pos x="18" y="62"/>
                    </a:cxn>
                    <a:cxn ang="0">
                      <a:pos x="9" y="71"/>
                    </a:cxn>
                    <a:cxn ang="0">
                      <a:pos x="18" y="62"/>
                    </a:cxn>
                    <a:cxn ang="0">
                      <a:pos x="0" y="62"/>
                    </a:cxn>
                    <a:cxn ang="0">
                      <a:pos x="0" y="62"/>
                    </a:cxn>
                    <a:cxn ang="0">
                      <a:pos x="0" y="62"/>
                    </a:cxn>
                    <a:cxn ang="0">
                      <a:pos x="9" y="53"/>
                    </a:cxn>
                    <a:cxn ang="0">
                      <a:pos x="18" y="44"/>
                    </a:cxn>
                    <a:cxn ang="0">
                      <a:pos x="18" y="44"/>
                    </a:cxn>
                    <a:cxn ang="0">
                      <a:pos x="18" y="44"/>
                    </a:cxn>
                    <a:cxn ang="0">
                      <a:pos x="18" y="35"/>
                    </a:cxn>
                    <a:cxn ang="0">
                      <a:pos x="26" y="35"/>
                    </a:cxn>
                    <a:cxn ang="0">
                      <a:pos x="26" y="35"/>
                    </a:cxn>
                    <a:cxn ang="0">
                      <a:pos x="35" y="27"/>
                    </a:cxn>
                    <a:cxn ang="0">
                      <a:pos x="44" y="27"/>
                    </a:cxn>
                    <a:cxn ang="0">
                      <a:pos x="44" y="27"/>
                    </a:cxn>
                    <a:cxn ang="0">
                      <a:pos x="53" y="27"/>
                    </a:cxn>
                    <a:cxn ang="0">
                      <a:pos x="70" y="18"/>
                    </a:cxn>
                    <a:cxn ang="0">
                      <a:pos x="79" y="18"/>
                    </a:cxn>
                    <a:cxn ang="0">
                      <a:pos x="88" y="0"/>
                    </a:cxn>
                    <a:cxn ang="0">
                      <a:pos x="88" y="9"/>
                    </a:cxn>
                    <a:cxn ang="0">
                      <a:pos x="88" y="9"/>
                    </a:cxn>
                    <a:cxn ang="0">
                      <a:pos x="79" y="18"/>
                    </a:cxn>
                    <a:cxn ang="0">
                      <a:pos x="79" y="18"/>
                    </a:cxn>
                    <a:cxn ang="0">
                      <a:pos x="79" y="18"/>
                    </a:cxn>
                    <a:cxn ang="0">
                      <a:pos x="88" y="18"/>
                    </a:cxn>
                    <a:cxn ang="0">
                      <a:pos x="88" y="9"/>
                    </a:cxn>
                    <a:cxn ang="0">
                      <a:pos x="97" y="9"/>
                    </a:cxn>
                    <a:cxn ang="0">
                      <a:pos x="106" y="0"/>
                    </a:cxn>
                    <a:cxn ang="0">
                      <a:pos x="106" y="9"/>
                    </a:cxn>
                    <a:cxn ang="0">
                      <a:pos x="106" y="0"/>
                    </a:cxn>
                    <a:cxn ang="0">
                      <a:pos x="114" y="0"/>
                    </a:cxn>
                    <a:cxn ang="0">
                      <a:pos x="106" y="9"/>
                    </a:cxn>
                    <a:cxn ang="0">
                      <a:pos x="106" y="9"/>
                    </a:cxn>
                    <a:cxn ang="0">
                      <a:pos x="88" y="18"/>
                    </a:cxn>
                    <a:cxn ang="0">
                      <a:pos x="88" y="18"/>
                    </a:cxn>
                    <a:cxn ang="0">
                      <a:pos x="88" y="27"/>
                    </a:cxn>
                    <a:cxn ang="0">
                      <a:pos x="79" y="35"/>
                    </a:cxn>
                    <a:cxn ang="0">
                      <a:pos x="70" y="35"/>
                    </a:cxn>
                    <a:cxn ang="0">
                      <a:pos x="62" y="35"/>
                    </a:cxn>
                    <a:cxn ang="0">
                      <a:pos x="62" y="35"/>
                    </a:cxn>
                    <a:cxn ang="0">
                      <a:pos x="53" y="44"/>
                    </a:cxn>
                    <a:cxn ang="0">
                      <a:pos x="44" y="44"/>
                    </a:cxn>
                    <a:cxn ang="0">
                      <a:pos x="35" y="53"/>
                    </a:cxn>
                    <a:cxn ang="0">
                      <a:pos x="35" y="53"/>
                    </a:cxn>
                  </a:cxnLst>
                  <a:rect l="0" t="0" r="r" b="b"/>
                  <a:pathLst>
                    <a:path w="114" h="71">
                      <a:moveTo>
                        <a:pt x="35" y="53"/>
                      </a:moveTo>
                      <a:lnTo>
                        <a:pt x="18" y="62"/>
                      </a:lnTo>
                      <a:lnTo>
                        <a:pt x="9" y="71"/>
                      </a:lnTo>
                      <a:lnTo>
                        <a:pt x="18" y="62"/>
                      </a:lnTo>
                      <a:lnTo>
                        <a:pt x="0" y="62"/>
                      </a:lnTo>
                      <a:lnTo>
                        <a:pt x="0" y="62"/>
                      </a:lnTo>
                      <a:lnTo>
                        <a:pt x="0" y="62"/>
                      </a:lnTo>
                      <a:lnTo>
                        <a:pt x="9" y="53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44"/>
                      </a:lnTo>
                      <a:lnTo>
                        <a:pt x="18" y="35"/>
                      </a:lnTo>
                      <a:lnTo>
                        <a:pt x="26" y="35"/>
                      </a:lnTo>
                      <a:lnTo>
                        <a:pt x="26" y="35"/>
                      </a:lnTo>
                      <a:lnTo>
                        <a:pt x="35" y="27"/>
                      </a:lnTo>
                      <a:lnTo>
                        <a:pt x="44" y="27"/>
                      </a:lnTo>
                      <a:lnTo>
                        <a:pt x="44" y="27"/>
                      </a:lnTo>
                      <a:lnTo>
                        <a:pt x="53" y="27"/>
                      </a:lnTo>
                      <a:lnTo>
                        <a:pt x="70" y="18"/>
                      </a:lnTo>
                      <a:lnTo>
                        <a:pt x="79" y="18"/>
                      </a:lnTo>
                      <a:lnTo>
                        <a:pt x="88" y="0"/>
                      </a:lnTo>
                      <a:lnTo>
                        <a:pt x="88" y="9"/>
                      </a:lnTo>
                      <a:lnTo>
                        <a:pt x="88" y="9"/>
                      </a:lnTo>
                      <a:lnTo>
                        <a:pt x="79" y="18"/>
                      </a:lnTo>
                      <a:lnTo>
                        <a:pt x="79" y="18"/>
                      </a:lnTo>
                      <a:lnTo>
                        <a:pt x="79" y="18"/>
                      </a:lnTo>
                      <a:lnTo>
                        <a:pt x="88" y="18"/>
                      </a:lnTo>
                      <a:lnTo>
                        <a:pt x="88" y="9"/>
                      </a:lnTo>
                      <a:lnTo>
                        <a:pt x="97" y="9"/>
                      </a:lnTo>
                      <a:lnTo>
                        <a:pt x="106" y="0"/>
                      </a:lnTo>
                      <a:lnTo>
                        <a:pt x="106" y="9"/>
                      </a:lnTo>
                      <a:lnTo>
                        <a:pt x="106" y="0"/>
                      </a:lnTo>
                      <a:lnTo>
                        <a:pt x="114" y="0"/>
                      </a:lnTo>
                      <a:lnTo>
                        <a:pt x="106" y="9"/>
                      </a:lnTo>
                      <a:lnTo>
                        <a:pt x="106" y="9"/>
                      </a:lnTo>
                      <a:lnTo>
                        <a:pt x="88" y="18"/>
                      </a:lnTo>
                      <a:lnTo>
                        <a:pt x="88" y="18"/>
                      </a:lnTo>
                      <a:lnTo>
                        <a:pt x="88" y="27"/>
                      </a:lnTo>
                      <a:lnTo>
                        <a:pt x="79" y="35"/>
                      </a:lnTo>
                      <a:lnTo>
                        <a:pt x="70" y="35"/>
                      </a:lnTo>
                      <a:lnTo>
                        <a:pt x="62" y="35"/>
                      </a:lnTo>
                      <a:lnTo>
                        <a:pt x="62" y="35"/>
                      </a:lnTo>
                      <a:lnTo>
                        <a:pt x="53" y="44"/>
                      </a:lnTo>
                      <a:lnTo>
                        <a:pt x="44" y="44"/>
                      </a:lnTo>
                      <a:lnTo>
                        <a:pt x="35" y="53"/>
                      </a:lnTo>
                      <a:lnTo>
                        <a:pt x="35" y="53"/>
                      </a:lnTo>
                      <a:close/>
                    </a:path>
                  </a:pathLst>
                </a:custGeom>
                <a:grpFill/>
                <a:ln w="9525">
                  <a:solidFill>
                    <a:srgbClr val="FFFFFF">
                      <a:lumMod val="65000"/>
                    </a:srgbClr>
                  </a:solidFill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kern="0">
                    <a:solidFill>
                      <a:srgbClr val="262626"/>
                    </a:solidFill>
                    <a:latin typeface="Roboto Condensed"/>
                  </a:endParaRPr>
                </a:p>
              </p:txBody>
            </p:sp>
          </p:grpSp>
          <p:sp>
            <p:nvSpPr>
              <p:cNvPr id="13" name="Freeform 91"/>
              <p:cNvSpPr>
                <a:spLocks/>
              </p:cNvSpPr>
              <p:nvPr/>
            </p:nvSpPr>
            <p:spPr bwMode="auto">
              <a:xfrm>
                <a:off x="1614670" y="1654775"/>
                <a:ext cx="861328" cy="544702"/>
              </a:xfrm>
              <a:custGeom>
                <a:avLst/>
                <a:gdLst/>
                <a:ahLst/>
                <a:cxnLst>
                  <a:cxn ang="0">
                    <a:pos x="18" y="115"/>
                  </a:cxn>
                  <a:cxn ang="0">
                    <a:pos x="9" y="97"/>
                  </a:cxn>
                  <a:cxn ang="0">
                    <a:pos x="0" y="79"/>
                  </a:cxn>
                  <a:cxn ang="0">
                    <a:pos x="18" y="0"/>
                  </a:cxn>
                  <a:cxn ang="0">
                    <a:pos x="229" y="44"/>
                  </a:cxn>
                  <a:cxn ang="0">
                    <a:pos x="422" y="70"/>
                  </a:cxn>
                  <a:cxn ang="0">
                    <a:pos x="607" y="88"/>
                  </a:cxn>
                  <a:cxn ang="0">
                    <a:pos x="642" y="88"/>
                  </a:cxn>
                  <a:cxn ang="0">
                    <a:pos x="625" y="398"/>
                  </a:cxn>
                  <a:cxn ang="0">
                    <a:pos x="546" y="398"/>
                  </a:cxn>
                  <a:cxn ang="0">
                    <a:pos x="334" y="371"/>
                  </a:cxn>
                  <a:cxn ang="0">
                    <a:pos x="229" y="362"/>
                  </a:cxn>
                  <a:cxn ang="0">
                    <a:pos x="220" y="398"/>
                  </a:cxn>
                  <a:cxn ang="0">
                    <a:pos x="211" y="380"/>
                  </a:cxn>
                  <a:cxn ang="0">
                    <a:pos x="202" y="389"/>
                  </a:cxn>
                  <a:cxn ang="0">
                    <a:pos x="194" y="389"/>
                  </a:cxn>
                  <a:cxn ang="0">
                    <a:pos x="185" y="389"/>
                  </a:cxn>
                  <a:cxn ang="0">
                    <a:pos x="158" y="380"/>
                  </a:cxn>
                  <a:cxn ang="0">
                    <a:pos x="150" y="389"/>
                  </a:cxn>
                  <a:cxn ang="0">
                    <a:pos x="141" y="389"/>
                  </a:cxn>
                  <a:cxn ang="0">
                    <a:pos x="123" y="389"/>
                  </a:cxn>
                  <a:cxn ang="0">
                    <a:pos x="123" y="398"/>
                  </a:cxn>
                  <a:cxn ang="0">
                    <a:pos x="114" y="380"/>
                  </a:cxn>
                  <a:cxn ang="0">
                    <a:pos x="114" y="371"/>
                  </a:cxn>
                  <a:cxn ang="0">
                    <a:pos x="114" y="362"/>
                  </a:cxn>
                  <a:cxn ang="0">
                    <a:pos x="106" y="353"/>
                  </a:cxn>
                  <a:cxn ang="0">
                    <a:pos x="97" y="344"/>
                  </a:cxn>
                  <a:cxn ang="0">
                    <a:pos x="97" y="336"/>
                  </a:cxn>
                  <a:cxn ang="0">
                    <a:pos x="97" y="327"/>
                  </a:cxn>
                  <a:cxn ang="0">
                    <a:pos x="88" y="300"/>
                  </a:cxn>
                  <a:cxn ang="0">
                    <a:pos x="79" y="283"/>
                  </a:cxn>
                  <a:cxn ang="0">
                    <a:pos x="62" y="291"/>
                  </a:cxn>
                  <a:cxn ang="0">
                    <a:pos x="53" y="283"/>
                  </a:cxn>
                  <a:cxn ang="0">
                    <a:pos x="44" y="283"/>
                  </a:cxn>
                  <a:cxn ang="0">
                    <a:pos x="53" y="265"/>
                  </a:cxn>
                  <a:cxn ang="0">
                    <a:pos x="62" y="265"/>
                  </a:cxn>
                  <a:cxn ang="0">
                    <a:pos x="53" y="247"/>
                  </a:cxn>
                  <a:cxn ang="0">
                    <a:pos x="62" y="238"/>
                  </a:cxn>
                  <a:cxn ang="0">
                    <a:pos x="62" y="230"/>
                  </a:cxn>
                  <a:cxn ang="0">
                    <a:pos x="70" y="203"/>
                  </a:cxn>
                  <a:cxn ang="0">
                    <a:pos x="62" y="203"/>
                  </a:cxn>
                  <a:cxn ang="0">
                    <a:pos x="62" y="194"/>
                  </a:cxn>
                  <a:cxn ang="0">
                    <a:pos x="53" y="185"/>
                  </a:cxn>
                  <a:cxn ang="0">
                    <a:pos x="44" y="176"/>
                  </a:cxn>
                  <a:cxn ang="0">
                    <a:pos x="44" y="168"/>
                  </a:cxn>
                  <a:cxn ang="0">
                    <a:pos x="35" y="159"/>
                  </a:cxn>
                  <a:cxn ang="0">
                    <a:pos x="26" y="141"/>
                  </a:cxn>
                  <a:cxn ang="0">
                    <a:pos x="18" y="132"/>
                  </a:cxn>
                  <a:cxn ang="0">
                    <a:pos x="18" y="123"/>
                  </a:cxn>
                </a:cxnLst>
                <a:rect l="0" t="0" r="r" b="b"/>
                <a:pathLst>
                  <a:path w="642" h="406">
                    <a:moveTo>
                      <a:pt x="18" y="123"/>
                    </a:moveTo>
                    <a:lnTo>
                      <a:pt x="18" y="115"/>
                    </a:lnTo>
                    <a:lnTo>
                      <a:pt x="18" y="106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0" y="79"/>
                    </a:lnTo>
                    <a:lnTo>
                      <a:pt x="18" y="8"/>
                    </a:lnTo>
                    <a:lnTo>
                      <a:pt x="18" y="0"/>
                    </a:lnTo>
                    <a:lnTo>
                      <a:pt x="97" y="17"/>
                    </a:lnTo>
                    <a:lnTo>
                      <a:pt x="229" y="44"/>
                    </a:lnTo>
                    <a:lnTo>
                      <a:pt x="343" y="62"/>
                    </a:lnTo>
                    <a:lnTo>
                      <a:pt x="422" y="70"/>
                    </a:lnTo>
                    <a:lnTo>
                      <a:pt x="502" y="79"/>
                    </a:lnTo>
                    <a:lnTo>
                      <a:pt x="607" y="88"/>
                    </a:lnTo>
                    <a:lnTo>
                      <a:pt x="642" y="88"/>
                    </a:lnTo>
                    <a:lnTo>
                      <a:pt x="642" y="88"/>
                    </a:lnTo>
                    <a:lnTo>
                      <a:pt x="625" y="327"/>
                    </a:lnTo>
                    <a:lnTo>
                      <a:pt x="625" y="398"/>
                    </a:lnTo>
                    <a:lnTo>
                      <a:pt x="616" y="406"/>
                    </a:lnTo>
                    <a:lnTo>
                      <a:pt x="546" y="398"/>
                    </a:lnTo>
                    <a:lnTo>
                      <a:pt x="431" y="389"/>
                    </a:lnTo>
                    <a:lnTo>
                      <a:pt x="334" y="371"/>
                    </a:lnTo>
                    <a:lnTo>
                      <a:pt x="238" y="362"/>
                    </a:lnTo>
                    <a:lnTo>
                      <a:pt x="229" y="362"/>
                    </a:lnTo>
                    <a:lnTo>
                      <a:pt x="229" y="398"/>
                    </a:lnTo>
                    <a:lnTo>
                      <a:pt x="220" y="398"/>
                    </a:lnTo>
                    <a:lnTo>
                      <a:pt x="220" y="389"/>
                    </a:lnTo>
                    <a:lnTo>
                      <a:pt x="211" y="380"/>
                    </a:lnTo>
                    <a:lnTo>
                      <a:pt x="211" y="380"/>
                    </a:lnTo>
                    <a:lnTo>
                      <a:pt x="202" y="389"/>
                    </a:lnTo>
                    <a:lnTo>
                      <a:pt x="202" y="389"/>
                    </a:lnTo>
                    <a:lnTo>
                      <a:pt x="194" y="389"/>
                    </a:lnTo>
                    <a:lnTo>
                      <a:pt x="185" y="389"/>
                    </a:lnTo>
                    <a:lnTo>
                      <a:pt x="185" y="389"/>
                    </a:lnTo>
                    <a:lnTo>
                      <a:pt x="167" y="389"/>
                    </a:lnTo>
                    <a:lnTo>
                      <a:pt x="158" y="380"/>
                    </a:lnTo>
                    <a:lnTo>
                      <a:pt x="158" y="389"/>
                    </a:lnTo>
                    <a:lnTo>
                      <a:pt x="150" y="389"/>
                    </a:lnTo>
                    <a:lnTo>
                      <a:pt x="150" y="389"/>
                    </a:lnTo>
                    <a:lnTo>
                      <a:pt x="141" y="389"/>
                    </a:lnTo>
                    <a:lnTo>
                      <a:pt x="132" y="389"/>
                    </a:lnTo>
                    <a:lnTo>
                      <a:pt x="123" y="389"/>
                    </a:lnTo>
                    <a:lnTo>
                      <a:pt x="123" y="398"/>
                    </a:lnTo>
                    <a:lnTo>
                      <a:pt x="123" y="398"/>
                    </a:lnTo>
                    <a:lnTo>
                      <a:pt x="123" y="389"/>
                    </a:lnTo>
                    <a:lnTo>
                      <a:pt x="114" y="380"/>
                    </a:lnTo>
                    <a:lnTo>
                      <a:pt x="114" y="380"/>
                    </a:lnTo>
                    <a:lnTo>
                      <a:pt x="114" y="371"/>
                    </a:lnTo>
                    <a:lnTo>
                      <a:pt x="114" y="371"/>
                    </a:lnTo>
                    <a:lnTo>
                      <a:pt x="114" y="362"/>
                    </a:lnTo>
                    <a:lnTo>
                      <a:pt x="106" y="353"/>
                    </a:lnTo>
                    <a:lnTo>
                      <a:pt x="106" y="353"/>
                    </a:lnTo>
                    <a:lnTo>
                      <a:pt x="97" y="353"/>
                    </a:lnTo>
                    <a:lnTo>
                      <a:pt x="97" y="344"/>
                    </a:lnTo>
                    <a:lnTo>
                      <a:pt x="97" y="336"/>
                    </a:lnTo>
                    <a:lnTo>
                      <a:pt x="97" y="336"/>
                    </a:lnTo>
                    <a:lnTo>
                      <a:pt x="97" y="327"/>
                    </a:lnTo>
                    <a:lnTo>
                      <a:pt x="97" y="327"/>
                    </a:lnTo>
                    <a:lnTo>
                      <a:pt x="88" y="318"/>
                    </a:lnTo>
                    <a:lnTo>
                      <a:pt x="88" y="300"/>
                    </a:lnTo>
                    <a:lnTo>
                      <a:pt x="88" y="291"/>
                    </a:lnTo>
                    <a:lnTo>
                      <a:pt x="79" y="283"/>
                    </a:lnTo>
                    <a:lnTo>
                      <a:pt x="79" y="283"/>
                    </a:lnTo>
                    <a:lnTo>
                      <a:pt x="62" y="291"/>
                    </a:lnTo>
                    <a:lnTo>
                      <a:pt x="53" y="291"/>
                    </a:lnTo>
                    <a:lnTo>
                      <a:pt x="53" y="283"/>
                    </a:lnTo>
                    <a:lnTo>
                      <a:pt x="44" y="283"/>
                    </a:lnTo>
                    <a:lnTo>
                      <a:pt x="44" y="283"/>
                    </a:lnTo>
                    <a:lnTo>
                      <a:pt x="53" y="274"/>
                    </a:lnTo>
                    <a:lnTo>
                      <a:pt x="53" y="265"/>
                    </a:lnTo>
                    <a:lnTo>
                      <a:pt x="53" y="265"/>
                    </a:lnTo>
                    <a:lnTo>
                      <a:pt x="62" y="265"/>
                    </a:lnTo>
                    <a:lnTo>
                      <a:pt x="62" y="256"/>
                    </a:lnTo>
                    <a:lnTo>
                      <a:pt x="53" y="247"/>
                    </a:lnTo>
                    <a:lnTo>
                      <a:pt x="62" y="238"/>
                    </a:lnTo>
                    <a:lnTo>
                      <a:pt x="62" y="238"/>
                    </a:lnTo>
                    <a:lnTo>
                      <a:pt x="62" y="230"/>
                    </a:lnTo>
                    <a:lnTo>
                      <a:pt x="62" y="230"/>
                    </a:lnTo>
                    <a:lnTo>
                      <a:pt x="70" y="221"/>
                    </a:lnTo>
                    <a:lnTo>
                      <a:pt x="70" y="203"/>
                    </a:lnTo>
                    <a:lnTo>
                      <a:pt x="70" y="203"/>
                    </a:lnTo>
                    <a:lnTo>
                      <a:pt x="62" y="203"/>
                    </a:lnTo>
                    <a:lnTo>
                      <a:pt x="62" y="194"/>
                    </a:lnTo>
                    <a:lnTo>
                      <a:pt x="62" y="194"/>
                    </a:lnTo>
                    <a:lnTo>
                      <a:pt x="53" y="194"/>
                    </a:lnTo>
                    <a:lnTo>
                      <a:pt x="53" y="185"/>
                    </a:lnTo>
                    <a:lnTo>
                      <a:pt x="44" y="185"/>
                    </a:lnTo>
                    <a:lnTo>
                      <a:pt x="44" y="176"/>
                    </a:lnTo>
                    <a:lnTo>
                      <a:pt x="44" y="176"/>
                    </a:lnTo>
                    <a:lnTo>
                      <a:pt x="44" y="168"/>
                    </a:lnTo>
                    <a:lnTo>
                      <a:pt x="35" y="159"/>
                    </a:lnTo>
                    <a:lnTo>
                      <a:pt x="35" y="159"/>
                    </a:lnTo>
                    <a:lnTo>
                      <a:pt x="26" y="150"/>
                    </a:lnTo>
                    <a:lnTo>
                      <a:pt x="26" y="141"/>
                    </a:lnTo>
                    <a:lnTo>
                      <a:pt x="18" y="141"/>
                    </a:lnTo>
                    <a:lnTo>
                      <a:pt x="18" y="132"/>
                    </a:lnTo>
                    <a:lnTo>
                      <a:pt x="9" y="123"/>
                    </a:lnTo>
                    <a:lnTo>
                      <a:pt x="18" y="123"/>
                    </a:lnTo>
                    <a:lnTo>
                      <a:pt x="18" y="123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4" name="Freeform 125"/>
              <p:cNvSpPr>
                <a:spLocks/>
              </p:cNvSpPr>
              <p:nvPr/>
            </p:nvSpPr>
            <p:spPr bwMode="auto">
              <a:xfrm>
                <a:off x="4872152" y="1654775"/>
                <a:ext cx="307234" cy="485671"/>
              </a:xfrm>
              <a:custGeom>
                <a:avLst/>
                <a:gdLst/>
                <a:ahLst/>
                <a:cxnLst>
                  <a:cxn ang="0">
                    <a:pos x="9" y="194"/>
                  </a:cxn>
                  <a:cxn ang="0">
                    <a:pos x="18" y="185"/>
                  </a:cxn>
                  <a:cxn ang="0">
                    <a:pos x="18" y="176"/>
                  </a:cxn>
                  <a:cxn ang="0">
                    <a:pos x="18" y="168"/>
                  </a:cxn>
                  <a:cxn ang="0">
                    <a:pos x="36" y="141"/>
                  </a:cxn>
                  <a:cxn ang="0">
                    <a:pos x="27" y="123"/>
                  </a:cxn>
                  <a:cxn ang="0">
                    <a:pos x="27" y="79"/>
                  </a:cxn>
                  <a:cxn ang="0">
                    <a:pos x="62" y="8"/>
                  </a:cxn>
                  <a:cxn ang="0">
                    <a:pos x="80" y="26"/>
                  </a:cxn>
                  <a:cxn ang="0">
                    <a:pos x="88" y="8"/>
                  </a:cxn>
                  <a:cxn ang="0">
                    <a:pos x="106" y="0"/>
                  </a:cxn>
                  <a:cxn ang="0">
                    <a:pos x="132" y="17"/>
                  </a:cxn>
                  <a:cxn ang="0">
                    <a:pos x="168" y="97"/>
                  </a:cxn>
                  <a:cxn ang="0">
                    <a:pos x="168" y="115"/>
                  </a:cxn>
                  <a:cxn ang="0">
                    <a:pos x="176" y="123"/>
                  </a:cxn>
                  <a:cxn ang="0">
                    <a:pos x="194" y="123"/>
                  </a:cxn>
                  <a:cxn ang="0">
                    <a:pos x="194" y="141"/>
                  </a:cxn>
                  <a:cxn ang="0">
                    <a:pos x="203" y="150"/>
                  </a:cxn>
                  <a:cxn ang="0">
                    <a:pos x="212" y="150"/>
                  </a:cxn>
                  <a:cxn ang="0">
                    <a:pos x="229" y="159"/>
                  </a:cxn>
                  <a:cxn ang="0">
                    <a:pos x="229" y="168"/>
                  </a:cxn>
                  <a:cxn ang="0">
                    <a:pos x="229" y="176"/>
                  </a:cxn>
                  <a:cxn ang="0">
                    <a:pos x="212" y="185"/>
                  </a:cxn>
                  <a:cxn ang="0">
                    <a:pos x="212" y="194"/>
                  </a:cxn>
                  <a:cxn ang="0">
                    <a:pos x="212" y="203"/>
                  </a:cxn>
                  <a:cxn ang="0">
                    <a:pos x="203" y="203"/>
                  </a:cxn>
                  <a:cxn ang="0">
                    <a:pos x="194" y="212"/>
                  </a:cxn>
                  <a:cxn ang="0">
                    <a:pos x="194" y="221"/>
                  </a:cxn>
                  <a:cxn ang="0">
                    <a:pos x="185" y="221"/>
                  </a:cxn>
                  <a:cxn ang="0">
                    <a:pos x="168" y="212"/>
                  </a:cxn>
                  <a:cxn ang="0">
                    <a:pos x="159" y="221"/>
                  </a:cxn>
                  <a:cxn ang="0">
                    <a:pos x="159" y="238"/>
                  </a:cxn>
                  <a:cxn ang="0">
                    <a:pos x="150" y="238"/>
                  </a:cxn>
                  <a:cxn ang="0">
                    <a:pos x="141" y="230"/>
                  </a:cxn>
                  <a:cxn ang="0">
                    <a:pos x="141" y="230"/>
                  </a:cxn>
                  <a:cxn ang="0">
                    <a:pos x="141" y="247"/>
                  </a:cxn>
                  <a:cxn ang="0">
                    <a:pos x="132" y="256"/>
                  </a:cxn>
                  <a:cxn ang="0">
                    <a:pos x="132" y="274"/>
                  </a:cxn>
                  <a:cxn ang="0">
                    <a:pos x="124" y="274"/>
                  </a:cxn>
                  <a:cxn ang="0">
                    <a:pos x="115" y="283"/>
                  </a:cxn>
                  <a:cxn ang="0">
                    <a:pos x="115" y="274"/>
                  </a:cxn>
                  <a:cxn ang="0">
                    <a:pos x="106" y="291"/>
                  </a:cxn>
                  <a:cxn ang="0">
                    <a:pos x="106" y="283"/>
                  </a:cxn>
                  <a:cxn ang="0">
                    <a:pos x="106" y="291"/>
                  </a:cxn>
                  <a:cxn ang="0">
                    <a:pos x="97" y="283"/>
                  </a:cxn>
                  <a:cxn ang="0">
                    <a:pos x="106" y="300"/>
                  </a:cxn>
                  <a:cxn ang="0">
                    <a:pos x="97" y="291"/>
                  </a:cxn>
                  <a:cxn ang="0">
                    <a:pos x="97" y="300"/>
                  </a:cxn>
                  <a:cxn ang="0">
                    <a:pos x="88" y="300"/>
                  </a:cxn>
                  <a:cxn ang="0">
                    <a:pos x="88" y="318"/>
                  </a:cxn>
                  <a:cxn ang="0">
                    <a:pos x="80" y="336"/>
                  </a:cxn>
                  <a:cxn ang="0">
                    <a:pos x="80" y="353"/>
                  </a:cxn>
                  <a:cxn ang="0">
                    <a:pos x="71" y="362"/>
                  </a:cxn>
                  <a:cxn ang="0">
                    <a:pos x="53" y="353"/>
                  </a:cxn>
                  <a:cxn ang="0">
                    <a:pos x="44" y="336"/>
                  </a:cxn>
                  <a:cxn ang="0">
                    <a:pos x="0" y="203"/>
                  </a:cxn>
                </a:cxnLst>
                <a:rect l="0" t="0" r="r" b="b"/>
                <a:pathLst>
                  <a:path w="229" h="362">
                    <a:moveTo>
                      <a:pt x="0" y="203"/>
                    </a:moveTo>
                    <a:lnTo>
                      <a:pt x="9" y="194"/>
                    </a:lnTo>
                    <a:lnTo>
                      <a:pt x="9" y="194"/>
                    </a:lnTo>
                    <a:lnTo>
                      <a:pt x="18" y="194"/>
                    </a:lnTo>
                    <a:lnTo>
                      <a:pt x="18" y="194"/>
                    </a:lnTo>
                    <a:lnTo>
                      <a:pt x="18" y="185"/>
                    </a:lnTo>
                    <a:lnTo>
                      <a:pt x="18" y="185"/>
                    </a:lnTo>
                    <a:lnTo>
                      <a:pt x="27" y="185"/>
                    </a:lnTo>
                    <a:lnTo>
                      <a:pt x="18" y="176"/>
                    </a:lnTo>
                    <a:lnTo>
                      <a:pt x="18" y="176"/>
                    </a:lnTo>
                    <a:lnTo>
                      <a:pt x="18" y="168"/>
                    </a:lnTo>
                    <a:lnTo>
                      <a:pt x="18" y="168"/>
                    </a:lnTo>
                    <a:lnTo>
                      <a:pt x="27" y="159"/>
                    </a:lnTo>
                    <a:lnTo>
                      <a:pt x="27" y="150"/>
                    </a:lnTo>
                    <a:lnTo>
                      <a:pt x="36" y="141"/>
                    </a:lnTo>
                    <a:lnTo>
                      <a:pt x="27" y="132"/>
                    </a:lnTo>
                    <a:lnTo>
                      <a:pt x="27" y="123"/>
                    </a:lnTo>
                    <a:lnTo>
                      <a:pt x="27" y="123"/>
                    </a:lnTo>
                    <a:lnTo>
                      <a:pt x="27" y="106"/>
                    </a:lnTo>
                    <a:lnTo>
                      <a:pt x="36" y="97"/>
                    </a:lnTo>
                    <a:lnTo>
                      <a:pt x="27" y="79"/>
                    </a:lnTo>
                    <a:lnTo>
                      <a:pt x="53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17"/>
                    </a:lnTo>
                    <a:lnTo>
                      <a:pt x="71" y="26"/>
                    </a:lnTo>
                    <a:lnTo>
                      <a:pt x="80" y="26"/>
                    </a:lnTo>
                    <a:lnTo>
                      <a:pt x="80" y="17"/>
                    </a:lnTo>
                    <a:lnTo>
                      <a:pt x="88" y="17"/>
                    </a:lnTo>
                    <a:lnTo>
                      <a:pt x="88" y="8"/>
                    </a:lnTo>
                    <a:lnTo>
                      <a:pt x="97" y="8"/>
                    </a:lnTo>
                    <a:lnTo>
                      <a:pt x="97" y="0"/>
                    </a:lnTo>
                    <a:lnTo>
                      <a:pt x="106" y="0"/>
                    </a:lnTo>
                    <a:lnTo>
                      <a:pt x="115" y="0"/>
                    </a:lnTo>
                    <a:lnTo>
                      <a:pt x="124" y="8"/>
                    </a:lnTo>
                    <a:lnTo>
                      <a:pt x="132" y="17"/>
                    </a:lnTo>
                    <a:lnTo>
                      <a:pt x="132" y="17"/>
                    </a:lnTo>
                    <a:lnTo>
                      <a:pt x="159" y="79"/>
                    </a:lnTo>
                    <a:lnTo>
                      <a:pt x="168" y="97"/>
                    </a:lnTo>
                    <a:lnTo>
                      <a:pt x="168" y="106"/>
                    </a:lnTo>
                    <a:lnTo>
                      <a:pt x="168" y="106"/>
                    </a:lnTo>
                    <a:lnTo>
                      <a:pt x="168" y="115"/>
                    </a:lnTo>
                    <a:lnTo>
                      <a:pt x="168" y="115"/>
                    </a:lnTo>
                    <a:lnTo>
                      <a:pt x="176" y="115"/>
                    </a:lnTo>
                    <a:lnTo>
                      <a:pt x="176" y="123"/>
                    </a:lnTo>
                    <a:lnTo>
                      <a:pt x="185" y="123"/>
                    </a:lnTo>
                    <a:lnTo>
                      <a:pt x="185" y="123"/>
                    </a:lnTo>
                    <a:lnTo>
                      <a:pt x="194" y="123"/>
                    </a:lnTo>
                    <a:lnTo>
                      <a:pt x="194" y="123"/>
                    </a:lnTo>
                    <a:lnTo>
                      <a:pt x="194" y="132"/>
                    </a:lnTo>
                    <a:lnTo>
                      <a:pt x="194" y="141"/>
                    </a:lnTo>
                    <a:lnTo>
                      <a:pt x="194" y="141"/>
                    </a:lnTo>
                    <a:lnTo>
                      <a:pt x="203" y="150"/>
                    </a:lnTo>
                    <a:lnTo>
                      <a:pt x="203" y="150"/>
                    </a:lnTo>
                    <a:lnTo>
                      <a:pt x="212" y="150"/>
                    </a:lnTo>
                    <a:lnTo>
                      <a:pt x="212" y="150"/>
                    </a:lnTo>
                    <a:lnTo>
                      <a:pt x="212" y="150"/>
                    </a:lnTo>
                    <a:lnTo>
                      <a:pt x="220" y="150"/>
                    </a:lnTo>
                    <a:lnTo>
                      <a:pt x="220" y="150"/>
                    </a:lnTo>
                    <a:lnTo>
                      <a:pt x="229" y="159"/>
                    </a:lnTo>
                    <a:lnTo>
                      <a:pt x="220" y="168"/>
                    </a:lnTo>
                    <a:lnTo>
                      <a:pt x="220" y="176"/>
                    </a:lnTo>
                    <a:lnTo>
                      <a:pt x="229" y="168"/>
                    </a:lnTo>
                    <a:lnTo>
                      <a:pt x="229" y="168"/>
                    </a:lnTo>
                    <a:lnTo>
                      <a:pt x="229" y="168"/>
                    </a:lnTo>
                    <a:lnTo>
                      <a:pt x="229" y="176"/>
                    </a:lnTo>
                    <a:lnTo>
                      <a:pt x="229" y="185"/>
                    </a:lnTo>
                    <a:lnTo>
                      <a:pt x="220" y="185"/>
                    </a:lnTo>
                    <a:lnTo>
                      <a:pt x="212" y="185"/>
                    </a:lnTo>
                    <a:lnTo>
                      <a:pt x="220" y="194"/>
                    </a:lnTo>
                    <a:lnTo>
                      <a:pt x="212" y="194"/>
                    </a:lnTo>
                    <a:lnTo>
                      <a:pt x="212" y="194"/>
                    </a:lnTo>
                    <a:lnTo>
                      <a:pt x="212" y="194"/>
                    </a:lnTo>
                    <a:lnTo>
                      <a:pt x="212" y="194"/>
                    </a:lnTo>
                    <a:lnTo>
                      <a:pt x="212" y="203"/>
                    </a:lnTo>
                    <a:lnTo>
                      <a:pt x="203" y="203"/>
                    </a:lnTo>
                    <a:lnTo>
                      <a:pt x="203" y="203"/>
                    </a:lnTo>
                    <a:lnTo>
                      <a:pt x="203" y="203"/>
                    </a:lnTo>
                    <a:lnTo>
                      <a:pt x="194" y="203"/>
                    </a:lnTo>
                    <a:lnTo>
                      <a:pt x="194" y="203"/>
                    </a:lnTo>
                    <a:lnTo>
                      <a:pt x="194" y="212"/>
                    </a:lnTo>
                    <a:lnTo>
                      <a:pt x="194" y="221"/>
                    </a:lnTo>
                    <a:lnTo>
                      <a:pt x="194" y="212"/>
                    </a:lnTo>
                    <a:lnTo>
                      <a:pt x="194" y="221"/>
                    </a:lnTo>
                    <a:lnTo>
                      <a:pt x="185" y="212"/>
                    </a:lnTo>
                    <a:lnTo>
                      <a:pt x="185" y="212"/>
                    </a:lnTo>
                    <a:lnTo>
                      <a:pt x="185" y="221"/>
                    </a:lnTo>
                    <a:lnTo>
                      <a:pt x="185" y="221"/>
                    </a:lnTo>
                    <a:lnTo>
                      <a:pt x="185" y="221"/>
                    </a:lnTo>
                    <a:lnTo>
                      <a:pt x="168" y="212"/>
                    </a:lnTo>
                    <a:lnTo>
                      <a:pt x="168" y="221"/>
                    </a:lnTo>
                    <a:lnTo>
                      <a:pt x="168" y="221"/>
                    </a:lnTo>
                    <a:lnTo>
                      <a:pt x="159" y="221"/>
                    </a:lnTo>
                    <a:lnTo>
                      <a:pt x="159" y="221"/>
                    </a:lnTo>
                    <a:lnTo>
                      <a:pt x="159" y="230"/>
                    </a:lnTo>
                    <a:lnTo>
                      <a:pt x="159" y="238"/>
                    </a:lnTo>
                    <a:lnTo>
                      <a:pt x="168" y="238"/>
                    </a:lnTo>
                    <a:lnTo>
                      <a:pt x="159" y="238"/>
                    </a:lnTo>
                    <a:lnTo>
                      <a:pt x="150" y="238"/>
                    </a:lnTo>
                    <a:lnTo>
                      <a:pt x="150" y="238"/>
                    </a:lnTo>
                    <a:lnTo>
                      <a:pt x="150" y="230"/>
                    </a:lnTo>
                    <a:lnTo>
                      <a:pt x="141" y="230"/>
                    </a:lnTo>
                    <a:lnTo>
                      <a:pt x="141" y="221"/>
                    </a:lnTo>
                    <a:lnTo>
                      <a:pt x="141" y="221"/>
                    </a:lnTo>
                    <a:lnTo>
                      <a:pt x="141" y="230"/>
                    </a:lnTo>
                    <a:lnTo>
                      <a:pt x="132" y="230"/>
                    </a:lnTo>
                    <a:lnTo>
                      <a:pt x="141" y="238"/>
                    </a:lnTo>
                    <a:lnTo>
                      <a:pt x="141" y="247"/>
                    </a:lnTo>
                    <a:lnTo>
                      <a:pt x="132" y="247"/>
                    </a:lnTo>
                    <a:lnTo>
                      <a:pt x="141" y="256"/>
                    </a:lnTo>
                    <a:lnTo>
                      <a:pt x="132" y="256"/>
                    </a:lnTo>
                    <a:lnTo>
                      <a:pt x="141" y="265"/>
                    </a:lnTo>
                    <a:lnTo>
                      <a:pt x="132" y="265"/>
                    </a:lnTo>
                    <a:lnTo>
                      <a:pt x="132" y="274"/>
                    </a:lnTo>
                    <a:lnTo>
                      <a:pt x="124" y="274"/>
                    </a:lnTo>
                    <a:lnTo>
                      <a:pt x="124" y="274"/>
                    </a:lnTo>
                    <a:lnTo>
                      <a:pt x="124" y="274"/>
                    </a:lnTo>
                    <a:lnTo>
                      <a:pt x="124" y="283"/>
                    </a:lnTo>
                    <a:lnTo>
                      <a:pt x="124" y="283"/>
                    </a:lnTo>
                    <a:lnTo>
                      <a:pt x="115" y="283"/>
                    </a:lnTo>
                    <a:lnTo>
                      <a:pt x="115" y="283"/>
                    </a:lnTo>
                    <a:lnTo>
                      <a:pt x="115" y="274"/>
                    </a:lnTo>
                    <a:lnTo>
                      <a:pt x="115" y="274"/>
                    </a:lnTo>
                    <a:lnTo>
                      <a:pt x="115" y="283"/>
                    </a:lnTo>
                    <a:lnTo>
                      <a:pt x="115" y="291"/>
                    </a:lnTo>
                    <a:lnTo>
                      <a:pt x="106" y="291"/>
                    </a:lnTo>
                    <a:lnTo>
                      <a:pt x="115" y="283"/>
                    </a:lnTo>
                    <a:lnTo>
                      <a:pt x="106" y="274"/>
                    </a:lnTo>
                    <a:lnTo>
                      <a:pt x="106" y="283"/>
                    </a:lnTo>
                    <a:lnTo>
                      <a:pt x="106" y="283"/>
                    </a:lnTo>
                    <a:lnTo>
                      <a:pt x="106" y="291"/>
                    </a:lnTo>
                    <a:lnTo>
                      <a:pt x="106" y="291"/>
                    </a:lnTo>
                    <a:lnTo>
                      <a:pt x="97" y="283"/>
                    </a:lnTo>
                    <a:lnTo>
                      <a:pt x="97" y="274"/>
                    </a:lnTo>
                    <a:lnTo>
                      <a:pt x="97" y="283"/>
                    </a:lnTo>
                    <a:lnTo>
                      <a:pt x="97" y="283"/>
                    </a:lnTo>
                    <a:lnTo>
                      <a:pt x="97" y="283"/>
                    </a:lnTo>
                    <a:lnTo>
                      <a:pt x="106" y="300"/>
                    </a:lnTo>
                    <a:lnTo>
                      <a:pt x="106" y="300"/>
                    </a:lnTo>
                    <a:lnTo>
                      <a:pt x="97" y="291"/>
                    </a:lnTo>
                    <a:lnTo>
                      <a:pt x="97" y="291"/>
                    </a:lnTo>
                    <a:lnTo>
                      <a:pt x="97" y="300"/>
                    </a:lnTo>
                    <a:lnTo>
                      <a:pt x="97" y="300"/>
                    </a:lnTo>
                    <a:lnTo>
                      <a:pt x="97" y="300"/>
                    </a:lnTo>
                    <a:lnTo>
                      <a:pt x="97" y="300"/>
                    </a:lnTo>
                    <a:lnTo>
                      <a:pt x="88" y="291"/>
                    </a:lnTo>
                    <a:lnTo>
                      <a:pt x="88" y="300"/>
                    </a:lnTo>
                    <a:lnTo>
                      <a:pt x="80" y="309"/>
                    </a:lnTo>
                    <a:lnTo>
                      <a:pt x="80" y="318"/>
                    </a:lnTo>
                    <a:lnTo>
                      <a:pt x="88" y="318"/>
                    </a:lnTo>
                    <a:lnTo>
                      <a:pt x="80" y="327"/>
                    </a:lnTo>
                    <a:lnTo>
                      <a:pt x="80" y="327"/>
                    </a:lnTo>
                    <a:lnTo>
                      <a:pt x="80" y="336"/>
                    </a:lnTo>
                    <a:lnTo>
                      <a:pt x="71" y="344"/>
                    </a:lnTo>
                    <a:lnTo>
                      <a:pt x="71" y="353"/>
                    </a:lnTo>
                    <a:lnTo>
                      <a:pt x="80" y="353"/>
                    </a:lnTo>
                    <a:lnTo>
                      <a:pt x="71" y="362"/>
                    </a:lnTo>
                    <a:lnTo>
                      <a:pt x="71" y="362"/>
                    </a:lnTo>
                    <a:lnTo>
                      <a:pt x="71" y="362"/>
                    </a:lnTo>
                    <a:lnTo>
                      <a:pt x="62" y="362"/>
                    </a:lnTo>
                    <a:lnTo>
                      <a:pt x="62" y="353"/>
                    </a:lnTo>
                    <a:lnTo>
                      <a:pt x="53" y="353"/>
                    </a:lnTo>
                    <a:lnTo>
                      <a:pt x="53" y="344"/>
                    </a:lnTo>
                    <a:lnTo>
                      <a:pt x="44" y="344"/>
                    </a:lnTo>
                    <a:lnTo>
                      <a:pt x="44" y="336"/>
                    </a:lnTo>
                    <a:lnTo>
                      <a:pt x="44" y="336"/>
                    </a:lnTo>
                    <a:lnTo>
                      <a:pt x="44" y="318"/>
                    </a:lnTo>
                    <a:lnTo>
                      <a:pt x="0" y="203"/>
                    </a:lnTo>
                    <a:lnTo>
                      <a:pt x="0" y="203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5" name="Freeform 135"/>
              <p:cNvSpPr>
                <a:spLocks/>
              </p:cNvSpPr>
              <p:nvPr/>
            </p:nvSpPr>
            <p:spPr bwMode="auto">
              <a:xfrm>
                <a:off x="2995209" y="2365839"/>
                <a:ext cx="508479" cy="332725"/>
              </a:xfrm>
              <a:custGeom>
                <a:avLst/>
                <a:gdLst/>
                <a:ahLst/>
                <a:cxnLst>
                  <a:cxn ang="0">
                    <a:pos x="9" y="71"/>
                  </a:cxn>
                  <a:cxn ang="0">
                    <a:pos x="0" y="62"/>
                  </a:cxn>
                  <a:cxn ang="0">
                    <a:pos x="9" y="62"/>
                  </a:cxn>
                  <a:cxn ang="0">
                    <a:pos x="9" y="44"/>
                  </a:cxn>
                  <a:cxn ang="0">
                    <a:pos x="9" y="36"/>
                  </a:cxn>
                  <a:cxn ang="0">
                    <a:pos x="9" y="27"/>
                  </a:cxn>
                  <a:cxn ang="0">
                    <a:pos x="9" y="18"/>
                  </a:cxn>
                  <a:cxn ang="0">
                    <a:pos x="0" y="9"/>
                  </a:cxn>
                  <a:cxn ang="0">
                    <a:pos x="71" y="9"/>
                  </a:cxn>
                  <a:cxn ang="0">
                    <a:pos x="256" y="0"/>
                  </a:cxn>
                  <a:cxn ang="0">
                    <a:pos x="308" y="0"/>
                  </a:cxn>
                  <a:cxn ang="0">
                    <a:pos x="317" y="9"/>
                  </a:cxn>
                  <a:cxn ang="0">
                    <a:pos x="317" y="18"/>
                  </a:cxn>
                  <a:cxn ang="0">
                    <a:pos x="317" y="36"/>
                  </a:cxn>
                  <a:cxn ang="0">
                    <a:pos x="317" y="44"/>
                  </a:cxn>
                  <a:cxn ang="0">
                    <a:pos x="326" y="53"/>
                  </a:cxn>
                  <a:cxn ang="0">
                    <a:pos x="344" y="62"/>
                  </a:cxn>
                  <a:cxn ang="0">
                    <a:pos x="352" y="71"/>
                  </a:cxn>
                  <a:cxn ang="0">
                    <a:pos x="361" y="89"/>
                  </a:cxn>
                  <a:cxn ang="0">
                    <a:pos x="370" y="97"/>
                  </a:cxn>
                  <a:cxn ang="0">
                    <a:pos x="379" y="106"/>
                  </a:cxn>
                  <a:cxn ang="0">
                    <a:pos x="379" y="124"/>
                  </a:cxn>
                  <a:cxn ang="0">
                    <a:pos x="370" y="142"/>
                  </a:cxn>
                  <a:cxn ang="0">
                    <a:pos x="352" y="150"/>
                  </a:cxn>
                  <a:cxn ang="0">
                    <a:pos x="335" y="159"/>
                  </a:cxn>
                  <a:cxn ang="0">
                    <a:pos x="326" y="177"/>
                  </a:cxn>
                  <a:cxn ang="0">
                    <a:pos x="335" y="195"/>
                  </a:cxn>
                  <a:cxn ang="0">
                    <a:pos x="326" y="212"/>
                  </a:cxn>
                  <a:cxn ang="0">
                    <a:pos x="326" y="221"/>
                  </a:cxn>
                  <a:cxn ang="0">
                    <a:pos x="317" y="230"/>
                  </a:cxn>
                  <a:cxn ang="0">
                    <a:pos x="317" y="239"/>
                  </a:cxn>
                  <a:cxn ang="0">
                    <a:pos x="308" y="248"/>
                  </a:cxn>
                  <a:cxn ang="0">
                    <a:pos x="300" y="230"/>
                  </a:cxn>
                  <a:cxn ang="0">
                    <a:pos x="256" y="230"/>
                  </a:cxn>
                  <a:cxn ang="0">
                    <a:pos x="124" y="239"/>
                  </a:cxn>
                  <a:cxn ang="0">
                    <a:pos x="53" y="230"/>
                  </a:cxn>
                  <a:cxn ang="0">
                    <a:pos x="53" y="212"/>
                  </a:cxn>
                  <a:cxn ang="0">
                    <a:pos x="44" y="195"/>
                  </a:cxn>
                  <a:cxn ang="0">
                    <a:pos x="44" y="186"/>
                  </a:cxn>
                  <a:cxn ang="0">
                    <a:pos x="44" y="177"/>
                  </a:cxn>
                  <a:cxn ang="0">
                    <a:pos x="44" y="168"/>
                  </a:cxn>
                  <a:cxn ang="0">
                    <a:pos x="36" y="159"/>
                  </a:cxn>
                  <a:cxn ang="0">
                    <a:pos x="36" y="150"/>
                  </a:cxn>
                  <a:cxn ang="0">
                    <a:pos x="36" y="142"/>
                  </a:cxn>
                  <a:cxn ang="0">
                    <a:pos x="36" y="133"/>
                  </a:cxn>
                  <a:cxn ang="0">
                    <a:pos x="27" y="124"/>
                  </a:cxn>
                  <a:cxn ang="0">
                    <a:pos x="18" y="106"/>
                  </a:cxn>
                  <a:cxn ang="0">
                    <a:pos x="18" y="97"/>
                  </a:cxn>
                  <a:cxn ang="0">
                    <a:pos x="18" y="89"/>
                  </a:cxn>
                  <a:cxn ang="0">
                    <a:pos x="9" y="89"/>
                  </a:cxn>
                </a:cxnLst>
                <a:rect l="0" t="0" r="r" b="b"/>
                <a:pathLst>
                  <a:path w="379" h="248">
                    <a:moveTo>
                      <a:pt x="9" y="89"/>
                    </a:moveTo>
                    <a:lnTo>
                      <a:pt x="9" y="71"/>
                    </a:lnTo>
                    <a:lnTo>
                      <a:pt x="0" y="71"/>
                    </a:lnTo>
                    <a:lnTo>
                      <a:pt x="0" y="62"/>
                    </a:lnTo>
                    <a:lnTo>
                      <a:pt x="9" y="62"/>
                    </a:lnTo>
                    <a:lnTo>
                      <a:pt x="9" y="62"/>
                    </a:lnTo>
                    <a:lnTo>
                      <a:pt x="9" y="53"/>
                    </a:lnTo>
                    <a:lnTo>
                      <a:pt x="9" y="44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27"/>
                    </a:lnTo>
                    <a:lnTo>
                      <a:pt x="9" y="18"/>
                    </a:lnTo>
                    <a:lnTo>
                      <a:pt x="9" y="9"/>
                    </a:lnTo>
                    <a:lnTo>
                      <a:pt x="0" y="9"/>
                    </a:lnTo>
                    <a:lnTo>
                      <a:pt x="9" y="9"/>
                    </a:lnTo>
                    <a:lnTo>
                      <a:pt x="71" y="9"/>
                    </a:lnTo>
                    <a:lnTo>
                      <a:pt x="168" y="0"/>
                    </a:lnTo>
                    <a:lnTo>
                      <a:pt x="256" y="0"/>
                    </a:lnTo>
                    <a:lnTo>
                      <a:pt x="308" y="0"/>
                    </a:lnTo>
                    <a:lnTo>
                      <a:pt x="308" y="0"/>
                    </a:lnTo>
                    <a:lnTo>
                      <a:pt x="308" y="0"/>
                    </a:lnTo>
                    <a:lnTo>
                      <a:pt x="317" y="9"/>
                    </a:lnTo>
                    <a:lnTo>
                      <a:pt x="317" y="9"/>
                    </a:lnTo>
                    <a:lnTo>
                      <a:pt x="317" y="18"/>
                    </a:lnTo>
                    <a:lnTo>
                      <a:pt x="317" y="27"/>
                    </a:lnTo>
                    <a:lnTo>
                      <a:pt x="317" y="36"/>
                    </a:lnTo>
                    <a:lnTo>
                      <a:pt x="317" y="44"/>
                    </a:lnTo>
                    <a:lnTo>
                      <a:pt x="317" y="44"/>
                    </a:lnTo>
                    <a:lnTo>
                      <a:pt x="326" y="53"/>
                    </a:lnTo>
                    <a:lnTo>
                      <a:pt x="326" y="53"/>
                    </a:lnTo>
                    <a:lnTo>
                      <a:pt x="326" y="62"/>
                    </a:lnTo>
                    <a:lnTo>
                      <a:pt x="344" y="62"/>
                    </a:lnTo>
                    <a:lnTo>
                      <a:pt x="352" y="71"/>
                    </a:lnTo>
                    <a:lnTo>
                      <a:pt x="352" y="71"/>
                    </a:lnTo>
                    <a:lnTo>
                      <a:pt x="352" y="80"/>
                    </a:lnTo>
                    <a:lnTo>
                      <a:pt x="361" y="89"/>
                    </a:lnTo>
                    <a:lnTo>
                      <a:pt x="361" y="89"/>
                    </a:lnTo>
                    <a:lnTo>
                      <a:pt x="370" y="97"/>
                    </a:lnTo>
                    <a:lnTo>
                      <a:pt x="370" y="97"/>
                    </a:lnTo>
                    <a:lnTo>
                      <a:pt x="379" y="106"/>
                    </a:lnTo>
                    <a:lnTo>
                      <a:pt x="379" y="106"/>
                    </a:lnTo>
                    <a:lnTo>
                      <a:pt x="379" y="124"/>
                    </a:lnTo>
                    <a:lnTo>
                      <a:pt x="370" y="133"/>
                    </a:lnTo>
                    <a:lnTo>
                      <a:pt x="370" y="142"/>
                    </a:lnTo>
                    <a:lnTo>
                      <a:pt x="370" y="150"/>
                    </a:lnTo>
                    <a:lnTo>
                      <a:pt x="352" y="150"/>
                    </a:lnTo>
                    <a:lnTo>
                      <a:pt x="352" y="159"/>
                    </a:lnTo>
                    <a:lnTo>
                      <a:pt x="335" y="159"/>
                    </a:lnTo>
                    <a:lnTo>
                      <a:pt x="326" y="168"/>
                    </a:lnTo>
                    <a:lnTo>
                      <a:pt x="326" y="177"/>
                    </a:lnTo>
                    <a:lnTo>
                      <a:pt x="335" y="186"/>
                    </a:lnTo>
                    <a:lnTo>
                      <a:pt x="335" y="195"/>
                    </a:lnTo>
                    <a:lnTo>
                      <a:pt x="335" y="204"/>
                    </a:lnTo>
                    <a:lnTo>
                      <a:pt x="326" y="212"/>
                    </a:lnTo>
                    <a:lnTo>
                      <a:pt x="326" y="212"/>
                    </a:lnTo>
                    <a:lnTo>
                      <a:pt x="326" y="221"/>
                    </a:lnTo>
                    <a:lnTo>
                      <a:pt x="317" y="230"/>
                    </a:lnTo>
                    <a:lnTo>
                      <a:pt x="317" y="230"/>
                    </a:lnTo>
                    <a:lnTo>
                      <a:pt x="317" y="239"/>
                    </a:lnTo>
                    <a:lnTo>
                      <a:pt x="317" y="239"/>
                    </a:lnTo>
                    <a:lnTo>
                      <a:pt x="308" y="248"/>
                    </a:lnTo>
                    <a:lnTo>
                      <a:pt x="308" y="248"/>
                    </a:lnTo>
                    <a:lnTo>
                      <a:pt x="308" y="239"/>
                    </a:lnTo>
                    <a:lnTo>
                      <a:pt x="300" y="230"/>
                    </a:lnTo>
                    <a:lnTo>
                      <a:pt x="291" y="230"/>
                    </a:lnTo>
                    <a:lnTo>
                      <a:pt x="256" y="230"/>
                    </a:lnTo>
                    <a:lnTo>
                      <a:pt x="159" y="239"/>
                    </a:lnTo>
                    <a:lnTo>
                      <a:pt x="124" y="239"/>
                    </a:lnTo>
                    <a:lnTo>
                      <a:pt x="53" y="239"/>
                    </a:lnTo>
                    <a:lnTo>
                      <a:pt x="53" y="230"/>
                    </a:lnTo>
                    <a:lnTo>
                      <a:pt x="53" y="230"/>
                    </a:lnTo>
                    <a:lnTo>
                      <a:pt x="53" y="212"/>
                    </a:lnTo>
                    <a:lnTo>
                      <a:pt x="44" y="204"/>
                    </a:lnTo>
                    <a:lnTo>
                      <a:pt x="44" y="195"/>
                    </a:lnTo>
                    <a:lnTo>
                      <a:pt x="53" y="195"/>
                    </a:lnTo>
                    <a:lnTo>
                      <a:pt x="44" y="186"/>
                    </a:lnTo>
                    <a:lnTo>
                      <a:pt x="44" y="177"/>
                    </a:lnTo>
                    <a:lnTo>
                      <a:pt x="44" y="177"/>
                    </a:lnTo>
                    <a:lnTo>
                      <a:pt x="44" y="168"/>
                    </a:lnTo>
                    <a:lnTo>
                      <a:pt x="44" y="168"/>
                    </a:lnTo>
                    <a:lnTo>
                      <a:pt x="44" y="159"/>
                    </a:lnTo>
                    <a:lnTo>
                      <a:pt x="36" y="159"/>
                    </a:lnTo>
                    <a:lnTo>
                      <a:pt x="36" y="159"/>
                    </a:lnTo>
                    <a:lnTo>
                      <a:pt x="36" y="150"/>
                    </a:lnTo>
                    <a:lnTo>
                      <a:pt x="36" y="150"/>
                    </a:lnTo>
                    <a:lnTo>
                      <a:pt x="36" y="142"/>
                    </a:lnTo>
                    <a:lnTo>
                      <a:pt x="36" y="142"/>
                    </a:lnTo>
                    <a:lnTo>
                      <a:pt x="36" y="133"/>
                    </a:lnTo>
                    <a:lnTo>
                      <a:pt x="36" y="133"/>
                    </a:lnTo>
                    <a:lnTo>
                      <a:pt x="27" y="124"/>
                    </a:lnTo>
                    <a:lnTo>
                      <a:pt x="27" y="115"/>
                    </a:lnTo>
                    <a:lnTo>
                      <a:pt x="18" y="106"/>
                    </a:lnTo>
                    <a:lnTo>
                      <a:pt x="18" y="106"/>
                    </a:lnTo>
                    <a:lnTo>
                      <a:pt x="18" y="97"/>
                    </a:lnTo>
                    <a:lnTo>
                      <a:pt x="18" y="97"/>
                    </a:lnTo>
                    <a:lnTo>
                      <a:pt x="18" y="89"/>
                    </a:lnTo>
                    <a:lnTo>
                      <a:pt x="18" y="89"/>
                    </a:lnTo>
                    <a:lnTo>
                      <a:pt x="9" y="89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6" name="Freeform 143"/>
              <p:cNvSpPr>
                <a:spLocks/>
              </p:cNvSpPr>
              <p:nvPr/>
            </p:nvSpPr>
            <p:spPr bwMode="auto">
              <a:xfrm>
                <a:off x="3939717" y="3196310"/>
                <a:ext cx="461521" cy="474938"/>
              </a:xfrm>
              <a:custGeom>
                <a:avLst/>
                <a:gdLst/>
                <a:ahLst/>
                <a:cxnLst>
                  <a:cxn ang="0">
                    <a:pos x="88" y="9"/>
                  </a:cxn>
                  <a:cxn ang="0">
                    <a:pos x="150" y="18"/>
                  </a:cxn>
                  <a:cxn ang="0">
                    <a:pos x="159" y="35"/>
                  </a:cxn>
                  <a:cxn ang="0">
                    <a:pos x="185" y="35"/>
                  </a:cxn>
                  <a:cxn ang="0">
                    <a:pos x="194" y="53"/>
                  </a:cxn>
                  <a:cxn ang="0">
                    <a:pos x="220" y="80"/>
                  </a:cxn>
                  <a:cxn ang="0">
                    <a:pos x="238" y="97"/>
                  </a:cxn>
                  <a:cxn ang="0">
                    <a:pos x="256" y="106"/>
                  </a:cxn>
                  <a:cxn ang="0">
                    <a:pos x="256" y="115"/>
                  </a:cxn>
                  <a:cxn ang="0">
                    <a:pos x="273" y="133"/>
                  </a:cxn>
                  <a:cxn ang="0">
                    <a:pos x="282" y="133"/>
                  </a:cxn>
                  <a:cxn ang="0">
                    <a:pos x="300" y="159"/>
                  </a:cxn>
                  <a:cxn ang="0">
                    <a:pos x="300" y="168"/>
                  </a:cxn>
                  <a:cxn ang="0">
                    <a:pos x="317" y="186"/>
                  </a:cxn>
                  <a:cxn ang="0">
                    <a:pos x="326" y="195"/>
                  </a:cxn>
                  <a:cxn ang="0">
                    <a:pos x="335" y="212"/>
                  </a:cxn>
                  <a:cxn ang="0">
                    <a:pos x="344" y="212"/>
                  </a:cxn>
                  <a:cxn ang="0">
                    <a:pos x="344" y="221"/>
                  </a:cxn>
                  <a:cxn ang="0">
                    <a:pos x="326" y="230"/>
                  </a:cxn>
                  <a:cxn ang="0">
                    <a:pos x="326" y="239"/>
                  </a:cxn>
                  <a:cxn ang="0">
                    <a:pos x="335" y="248"/>
                  </a:cxn>
                  <a:cxn ang="0">
                    <a:pos x="326" y="248"/>
                  </a:cxn>
                  <a:cxn ang="0">
                    <a:pos x="326" y="257"/>
                  </a:cxn>
                  <a:cxn ang="0">
                    <a:pos x="326" y="274"/>
                  </a:cxn>
                  <a:cxn ang="0">
                    <a:pos x="308" y="274"/>
                  </a:cxn>
                  <a:cxn ang="0">
                    <a:pos x="326" y="274"/>
                  </a:cxn>
                  <a:cxn ang="0">
                    <a:pos x="317" y="283"/>
                  </a:cxn>
                  <a:cxn ang="0">
                    <a:pos x="317" y="292"/>
                  </a:cxn>
                  <a:cxn ang="0">
                    <a:pos x="317" y="301"/>
                  </a:cxn>
                  <a:cxn ang="0">
                    <a:pos x="317" y="310"/>
                  </a:cxn>
                  <a:cxn ang="0">
                    <a:pos x="317" y="318"/>
                  </a:cxn>
                  <a:cxn ang="0">
                    <a:pos x="300" y="318"/>
                  </a:cxn>
                  <a:cxn ang="0">
                    <a:pos x="282" y="318"/>
                  </a:cxn>
                  <a:cxn ang="0">
                    <a:pos x="282" y="336"/>
                  </a:cxn>
                  <a:cxn ang="0">
                    <a:pos x="282" y="354"/>
                  </a:cxn>
                  <a:cxn ang="0">
                    <a:pos x="264" y="345"/>
                  </a:cxn>
                  <a:cxn ang="0">
                    <a:pos x="88" y="345"/>
                  </a:cxn>
                  <a:cxn ang="0">
                    <a:pos x="80" y="318"/>
                  </a:cxn>
                  <a:cxn ang="0">
                    <a:pos x="71" y="301"/>
                  </a:cxn>
                  <a:cxn ang="0">
                    <a:pos x="71" y="283"/>
                  </a:cxn>
                  <a:cxn ang="0">
                    <a:pos x="71" y="257"/>
                  </a:cxn>
                  <a:cxn ang="0">
                    <a:pos x="71" y="239"/>
                  </a:cxn>
                  <a:cxn ang="0">
                    <a:pos x="71" y="230"/>
                  </a:cxn>
                  <a:cxn ang="0">
                    <a:pos x="71" y="212"/>
                  </a:cxn>
                  <a:cxn ang="0">
                    <a:pos x="53" y="195"/>
                  </a:cxn>
                  <a:cxn ang="0">
                    <a:pos x="27" y="97"/>
                  </a:cxn>
                </a:cxnLst>
                <a:rect l="0" t="0" r="r" b="b"/>
                <a:pathLst>
                  <a:path w="344" h="354">
                    <a:moveTo>
                      <a:pt x="0" y="18"/>
                    </a:moveTo>
                    <a:lnTo>
                      <a:pt x="62" y="18"/>
                    </a:lnTo>
                    <a:lnTo>
                      <a:pt x="88" y="9"/>
                    </a:lnTo>
                    <a:lnTo>
                      <a:pt x="168" y="0"/>
                    </a:lnTo>
                    <a:lnTo>
                      <a:pt x="159" y="9"/>
                    </a:lnTo>
                    <a:lnTo>
                      <a:pt x="150" y="18"/>
                    </a:lnTo>
                    <a:lnTo>
                      <a:pt x="150" y="27"/>
                    </a:lnTo>
                    <a:lnTo>
                      <a:pt x="150" y="27"/>
                    </a:lnTo>
                    <a:lnTo>
                      <a:pt x="159" y="35"/>
                    </a:lnTo>
                    <a:lnTo>
                      <a:pt x="168" y="35"/>
                    </a:lnTo>
                    <a:lnTo>
                      <a:pt x="176" y="44"/>
                    </a:lnTo>
                    <a:lnTo>
                      <a:pt x="185" y="35"/>
                    </a:lnTo>
                    <a:lnTo>
                      <a:pt x="185" y="44"/>
                    </a:lnTo>
                    <a:lnTo>
                      <a:pt x="185" y="53"/>
                    </a:lnTo>
                    <a:lnTo>
                      <a:pt x="194" y="53"/>
                    </a:lnTo>
                    <a:lnTo>
                      <a:pt x="194" y="62"/>
                    </a:lnTo>
                    <a:lnTo>
                      <a:pt x="212" y="80"/>
                    </a:lnTo>
                    <a:lnTo>
                      <a:pt x="220" y="80"/>
                    </a:lnTo>
                    <a:lnTo>
                      <a:pt x="229" y="89"/>
                    </a:lnTo>
                    <a:lnTo>
                      <a:pt x="238" y="89"/>
                    </a:lnTo>
                    <a:lnTo>
                      <a:pt x="238" y="97"/>
                    </a:lnTo>
                    <a:lnTo>
                      <a:pt x="238" y="97"/>
                    </a:lnTo>
                    <a:lnTo>
                      <a:pt x="247" y="106"/>
                    </a:lnTo>
                    <a:lnTo>
                      <a:pt x="256" y="106"/>
                    </a:lnTo>
                    <a:lnTo>
                      <a:pt x="256" y="115"/>
                    </a:lnTo>
                    <a:lnTo>
                      <a:pt x="256" y="115"/>
                    </a:lnTo>
                    <a:lnTo>
                      <a:pt x="256" y="115"/>
                    </a:lnTo>
                    <a:lnTo>
                      <a:pt x="264" y="124"/>
                    </a:lnTo>
                    <a:lnTo>
                      <a:pt x="264" y="124"/>
                    </a:lnTo>
                    <a:lnTo>
                      <a:pt x="273" y="133"/>
                    </a:lnTo>
                    <a:lnTo>
                      <a:pt x="273" y="133"/>
                    </a:lnTo>
                    <a:lnTo>
                      <a:pt x="273" y="133"/>
                    </a:lnTo>
                    <a:lnTo>
                      <a:pt x="282" y="133"/>
                    </a:lnTo>
                    <a:lnTo>
                      <a:pt x="291" y="142"/>
                    </a:lnTo>
                    <a:lnTo>
                      <a:pt x="291" y="150"/>
                    </a:lnTo>
                    <a:lnTo>
                      <a:pt x="300" y="159"/>
                    </a:lnTo>
                    <a:lnTo>
                      <a:pt x="300" y="159"/>
                    </a:lnTo>
                    <a:lnTo>
                      <a:pt x="300" y="168"/>
                    </a:lnTo>
                    <a:lnTo>
                      <a:pt x="300" y="168"/>
                    </a:lnTo>
                    <a:lnTo>
                      <a:pt x="308" y="177"/>
                    </a:lnTo>
                    <a:lnTo>
                      <a:pt x="317" y="177"/>
                    </a:lnTo>
                    <a:lnTo>
                      <a:pt x="317" y="186"/>
                    </a:lnTo>
                    <a:lnTo>
                      <a:pt x="317" y="186"/>
                    </a:lnTo>
                    <a:lnTo>
                      <a:pt x="326" y="195"/>
                    </a:lnTo>
                    <a:lnTo>
                      <a:pt x="326" y="195"/>
                    </a:lnTo>
                    <a:lnTo>
                      <a:pt x="326" y="203"/>
                    </a:lnTo>
                    <a:lnTo>
                      <a:pt x="326" y="212"/>
                    </a:lnTo>
                    <a:lnTo>
                      <a:pt x="335" y="212"/>
                    </a:lnTo>
                    <a:lnTo>
                      <a:pt x="344" y="212"/>
                    </a:lnTo>
                    <a:lnTo>
                      <a:pt x="344" y="212"/>
                    </a:lnTo>
                    <a:lnTo>
                      <a:pt x="344" y="212"/>
                    </a:lnTo>
                    <a:lnTo>
                      <a:pt x="344" y="221"/>
                    </a:lnTo>
                    <a:lnTo>
                      <a:pt x="335" y="221"/>
                    </a:lnTo>
                    <a:lnTo>
                      <a:pt x="344" y="221"/>
                    </a:lnTo>
                    <a:lnTo>
                      <a:pt x="335" y="230"/>
                    </a:lnTo>
                    <a:lnTo>
                      <a:pt x="326" y="221"/>
                    </a:lnTo>
                    <a:lnTo>
                      <a:pt x="326" y="230"/>
                    </a:lnTo>
                    <a:lnTo>
                      <a:pt x="335" y="230"/>
                    </a:lnTo>
                    <a:lnTo>
                      <a:pt x="335" y="239"/>
                    </a:lnTo>
                    <a:lnTo>
                      <a:pt x="326" y="239"/>
                    </a:lnTo>
                    <a:lnTo>
                      <a:pt x="326" y="248"/>
                    </a:lnTo>
                    <a:lnTo>
                      <a:pt x="335" y="239"/>
                    </a:lnTo>
                    <a:lnTo>
                      <a:pt x="335" y="248"/>
                    </a:lnTo>
                    <a:lnTo>
                      <a:pt x="326" y="248"/>
                    </a:lnTo>
                    <a:lnTo>
                      <a:pt x="326" y="248"/>
                    </a:lnTo>
                    <a:lnTo>
                      <a:pt x="326" y="248"/>
                    </a:lnTo>
                    <a:lnTo>
                      <a:pt x="326" y="257"/>
                    </a:lnTo>
                    <a:lnTo>
                      <a:pt x="326" y="257"/>
                    </a:lnTo>
                    <a:lnTo>
                      <a:pt x="326" y="257"/>
                    </a:lnTo>
                    <a:lnTo>
                      <a:pt x="326" y="265"/>
                    </a:lnTo>
                    <a:lnTo>
                      <a:pt x="326" y="265"/>
                    </a:lnTo>
                    <a:lnTo>
                      <a:pt x="326" y="274"/>
                    </a:lnTo>
                    <a:lnTo>
                      <a:pt x="317" y="274"/>
                    </a:lnTo>
                    <a:lnTo>
                      <a:pt x="317" y="274"/>
                    </a:lnTo>
                    <a:lnTo>
                      <a:pt x="308" y="274"/>
                    </a:lnTo>
                    <a:lnTo>
                      <a:pt x="317" y="274"/>
                    </a:lnTo>
                    <a:lnTo>
                      <a:pt x="317" y="274"/>
                    </a:lnTo>
                    <a:lnTo>
                      <a:pt x="326" y="274"/>
                    </a:lnTo>
                    <a:lnTo>
                      <a:pt x="326" y="283"/>
                    </a:lnTo>
                    <a:lnTo>
                      <a:pt x="317" y="283"/>
                    </a:lnTo>
                    <a:lnTo>
                      <a:pt x="317" y="283"/>
                    </a:lnTo>
                    <a:lnTo>
                      <a:pt x="317" y="292"/>
                    </a:lnTo>
                    <a:lnTo>
                      <a:pt x="317" y="292"/>
                    </a:lnTo>
                    <a:lnTo>
                      <a:pt x="317" y="292"/>
                    </a:lnTo>
                    <a:lnTo>
                      <a:pt x="317" y="292"/>
                    </a:lnTo>
                    <a:lnTo>
                      <a:pt x="317" y="301"/>
                    </a:lnTo>
                    <a:lnTo>
                      <a:pt x="317" y="301"/>
                    </a:lnTo>
                    <a:lnTo>
                      <a:pt x="317" y="301"/>
                    </a:lnTo>
                    <a:lnTo>
                      <a:pt x="317" y="310"/>
                    </a:lnTo>
                    <a:lnTo>
                      <a:pt x="317" y="310"/>
                    </a:lnTo>
                    <a:lnTo>
                      <a:pt x="317" y="318"/>
                    </a:lnTo>
                    <a:lnTo>
                      <a:pt x="317" y="318"/>
                    </a:lnTo>
                    <a:lnTo>
                      <a:pt x="317" y="318"/>
                    </a:lnTo>
                    <a:lnTo>
                      <a:pt x="317" y="318"/>
                    </a:lnTo>
                    <a:lnTo>
                      <a:pt x="308" y="318"/>
                    </a:lnTo>
                    <a:lnTo>
                      <a:pt x="300" y="318"/>
                    </a:lnTo>
                    <a:lnTo>
                      <a:pt x="291" y="318"/>
                    </a:lnTo>
                    <a:lnTo>
                      <a:pt x="291" y="318"/>
                    </a:lnTo>
                    <a:lnTo>
                      <a:pt x="282" y="318"/>
                    </a:lnTo>
                    <a:lnTo>
                      <a:pt x="282" y="327"/>
                    </a:lnTo>
                    <a:lnTo>
                      <a:pt x="282" y="327"/>
                    </a:lnTo>
                    <a:lnTo>
                      <a:pt x="282" y="336"/>
                    </a:lnTo>
                    <a:lnTo>
                      <a:pt x="291" y="345"/>
                    </a:lnTo>
                    <a:lnTo>
                      <a:pt x="291" y="354"/>
                    </a:lnTo>
                    <a:lnTo>
                      <a:pt x="282" y="354"/>
                    </a:lnTo>
                    <a:lnTo>
                      <a:pt x="273" y="354"/>
                    </a:lnTo>
                    <a:lnTo>
                      <a:pt x="273" y="345"/>
                    </a:lnTo>
                    <a:lnTo>
                      <a:pt x="264" y="345"/>
                    </a:lnTo>
                    <a:lnTo>
                      <a:pt x="97" y="354"/>
                    </a:lnTo>
                    <a:lnTo>
                      <a:pt x="88" y="345"/>
                    </a:lnTo>
                    <a:lnTo>
                      <a:pt x="88" y="345"/>
                    </a:lnTo>
                    <a:lnTo>
                      <a:pt x="80" y="336"/>
                    </a:lnTo>
                    <a:lnTo>
                      <a:pt x="80" y="327"/>
                    </a:lnTo>
                    <a:lnTo>
                      <a:pt x="80" y="318"/>
                    </a:lnTo>
                    <a:lnTo>
                      <a:pt x="71" y="318"/>
                    </a:lnTo>
                    <a:lnTo>
                      <a:pt x="71" y="310"/>
                    </a:lnTo>
                    <a:lnTo>
                      <a:pt x="71" y="301"/>
                    </a:lnTo>
                    <a:lnTo>
                      <a:pt x="71" y="292"/>
                    </a:lnTo>
                    <a:lnTo>
                      <a:pt x="71" y="292"/>
                    </a:lnTo>
                    <a:lnTo>
                      <a:pt x="71" y="283"/>
                    </a:lnTo>
                    <a:lnTo>
                      <a:pt x="71" y="274"/>
                    </a:lnTo>
                    <a:lnTo>
                      <a:pt x="62" y="265"/>
                    </a:lnTo>
                    <a:lnTo>
                      <a:pt x="71" y="257"/>
                    </a:lnTo>
                    <a:lnTo>
                      <a:pt x="71" y="257"/>
                    </a:lnTo>
                    <a:lnTo>
                      <a:pt x="71" y="248"/>
                    </a:lnTo>
                    <a:lnTo>
                      <a:pt x="71" y="239"/>
                    </a:lnTo>
                    <a:lnTo>
                      <a:pt x="80" y="239"/>
                    </a:lnTo>
                    <a:lnTo>
                      <a:pt x="71" y="230"/>
                    </a:lnTo>
                    <a:lnTo>
                      <a:pt x="71" y="230"/>
                    </a:lnTo>
                    <a:lnTo>
                      <a:pt x="71" y="221"/>
                    </a:lnTo>
                    <a:lnTo>
                      <a:pt x="71" y="212"/>
                    </a:lnTo>
                    <a:lnTo>
                      <a:pt x="71" y="212"/>
                    </a:lnTo>
                    <a:lnTo>
                      <a:pt x="62" y="203"/>
                    </a:lnTo>
                    <a:lnTo>
                      <a:pt x="53" y="195"/>
                    </a:lnTo>
                    <a:lnTo>
                      <a:pt x="53" y="195"/>
                    </a:lnTo>
                    <a:lnTo>
                      <a:pt x="53" y="186"/>
                    </a:lnTo>
                    <a:lnTo>
                      <a:pt x="53" y="186"/>
                    </a:lnTo>
                    <a:lnTo>
                      <a:pt x="27" y="97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 dirty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7" name="Freeform 153"/>
              <p:cNvSpPr>
                <a:spLocks/>
              </p:cNvSpPr>
              <p:nvPr/>
            </p:nvSpPr>
            <p:spPr bwMode="auto">
              <a:xfrm>
                <a:off x="1968861" y="2579159"/>
                <a:ext cx="602393" cy="474938"/>
              </a:xfrm>
              <a:custGeom>
                <a:avLst/>
                <a:gdLst/>
                <a:ahLst/>
                <a:cxnLst>
                  <a:cxn ang="0">
                    <a:pos x="0" y="319"/>
                  </a:cxn>
                  <a:cxn ang="0">
                    <a:pos x="35" y="0"/>
                  </a:cxn>
                  <a:cxn ang="0">
                    <a:pos x="97" y="9"/>
                  </a:cxn>
                  <a:cxn ang="0">
                    <a:pos x="194" y="18"/>
                  </a:cxn>
                  <a:cxn ang="0">
                    <a:pos x="238" y="27"/>
                  </a:cxn>
                  <a:cxn ang="0">
                    <a:pos x="334" y="36"/>
                  </a:cxn>
                  <a:cxn ang="0">
                    <a:pos x="387" y="36"/>
                  </a:cxn>
                  <a:cxn ang="0">
                    <a:pos x="449" y="36"/>
                  </a:cxn>
                  <a:cxn ang="0">
                    <a:pos x="449" y="45"/>
                  </a:cxn>
                  <a:cxn ang="0">
                    <a:pos x="449" y="115"/>
                  </a:cxn>
                  <a:cxn ang="0">
                    <a:pos x="431" y="354"/>
                  </a:cxn>
                  <a:cxn ang="0">
                    <a:pos x="370" y="354"/>
                  </a:cxn>
                  <a:cxn ang="0">
                    <a:pos x="299" y="345"/>
                  </a:cxn>
                  <a:cxn ang="0">
                    <a:pos x="194" y="336"/>
                  </a:cxn>
                  <a:cxn ang="0">
                    <a:pos x="97" y="327"/>
                  </a:cxn>
                  <a:cxn ang="0">
                    <a:pos x="0" y="319"/>
                  </a:cxn>
                </a:cxnLst>
                <a:rect l="0" t="0" r="r" b="b"/>
                <a:pathLst>
                  <a:path w="449" h="354">
                    <a:moveTo>
                      <a:pt x="0" y="319"/>
                    </a:moveTo>
                    <a:lnTo>
                      <a:pt x="35" y="0"/>
                    </a:lnTo>
                    <a:lnTo>
                      <a:pt x="97" y="9"/>
                    </a:lnTo>
                    <a:lnTo>
                      <a:pt x="194" y="18"/>
                    </a:lnTo>
                    <a:lnTo>
                      <a:pt x="238" y="27"/>
                    </a:lnTo>
                    <a:lnTo>
                      <a:pt x="334" y="36"/>
                    </a:lnTo>
                    <a:lnTo>
                      <a:pt x="387" y="36"/>
                    </a:lnTo>
                    <a:lnTo>
                      <a:pt x="449" y="36"/>
                    </a:lnTo>
                    <a:lnTo>
                      <a:pt x="449" y="45"/>
                    </a:lnTo>
                    <a:lnTo>
                      <a:pt x="449" y="115"/>
                    </a:lnTo>
                    <a:lnTo>
                      <a:pt x="431" y="354"/>
                    </a:lnTo>
                    <a:lnTo>
                      <a:pt x="370" y="354"/>
                    </a:lnTo>
                    <a:lnTo>
                      <a:pt x="299" y="345"/>
                    </a:lnTo>
                    <a:lnTo>
                      <a:pt x="194" y="336"/>
                    </a:lnTo>
                    <a:lnTo>
                      <a:pt x="97" y="327"/>
                    </a:lnTo>
                    <a:lnTo>
                      <a:pt x="0" y="319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>
                <a:solidFill>
                  <a:srgbClr val="FFFFFF">
                    <a:lumMod val="65000"/>
                  </a:srgb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8" name="Freeform 155"/>
              <p:cNvSpPr>
                <a:spLocks/>
              </p:cNvSpPr>
              <p:nvPr/>
            </p:nvSpPr>
            <p:spPr bwMode="auto">
              <a:xfrm>
                <a:off x="812374" y="2235701"/>
                <a:ext cx="684232" cy="1151120"/>
              </a:xfrm>
              <a:custGeom>
                <a:avLst/>
                <a:gdLst/>
                <a:ahLst/>
                <a:cxnLst>
                  <a:cxn ang="0">
                    <a:pos x="44" y="26"/>
                  </a:cxn>
                  <a:cxn ang="0">
                    <a:pos x="44" y="0"/>
                  </a:cxn>
                  <a:cxn ang="0">
                    <a:pos x="237" y="239"/>
                  </a:cxn>
                  <a:cxn ang="0">
                    <a:pos x="484" y="681"/>
                  </a:cxn>
                  <a:cxn ang="0">
                    <a:pos x="493" y="707"/>
                  </a:cxn>
                  <a:cxn ang="0">
                    <a:pos x="510" y="734"/>
                  </a:cxn>
                  <a:cxn ang="0">
                    <a:pos x="484" y="760"/>
                  </a:cxn>
                  <a:cxn ang="0">
                    <a:pos x="475" y="787"/>
                  </a:cxn>
                  <a:cxn ang="0">
                    <a:pos x="457" y="813"/>
                  </a:cxn>
                  <a:cxn ang="0">
                    <a:pos x="466" y="831"/>
                  </a:cxn>
                  <a:cxn ang="0">
                    <a:pos x="466" y="849"/>
                  </a:cxn>
                  <a:cxn ang="0">
                    <a:pos x="449" y="858"/>
                  </a:cxn>
                  <a:cxn ang="0">
                    <a:pos x="290" y="831"/>
                  </a:cxn>
                  <a:cxn ang="0">
                    <a:pos x="290" y="822"/>
                  </a:cxn>
                  <a:cxn ang="0">
                    <a:pos x="290" y="805"/>
                  </a:cxn>
                  <a:cxn ang="0">
                    <a:pos x="264" y="751"/>
                  </a:cxn>
                  <a:cxn ang="0">
                    <a:pos x="246" y="725"/>
                  </a:cxn>
                  <a:cxn ang="0">
                    <a:pos x="229" y="725"/>
                  </a:cxn>
                  <a:cxn ang="0">
                    <a:pos x="229" y="698"/>
                  </a:cxn>
                  <a:cxn ang="0">
                    <a:pos x="185" y="672"/>
                  </a:cxn>
                  <a:cxn ang="0">
                    <a:pos x="158" y="654"/>
                  </a:cxn>
                  <a:cxn ang="0">
                    <a:pos x="132" y="645"/>
                  </a:cxn>
                  <a:cxn ang="0">
                    <a:pos x="105" y="628"/>
                  </a:cxn>
                  <a:cxn ang="0">
                    <a:pos x="114" y="610"/>
                  </a:cxn>
                  <a:cxn ang="0">
                    <a:pos x="114" y="583"/>
                  </a:cxn>
                  <a:cxn ang="0">
                    <a:pos x="105" y="566"/>
                  </a:cxn>
                  <a:cxn ang="0">
                    <a:pos x="88" y="530"/>
                  </a:cxn>
                  <a:cxn ang="0">
                    <a:pos x="79" y="504"/>
                  </a:cxn>
                  <a:cxn ang="0">
                    <a:pos x="61" y="477"/>
                  </a:cxn>
                  <a:cxn ang="0">
                    <a:pos x="79" y="442"/>
                  </a:cxn>
                  <a:cxn ang="0">
                    <a:pos x="61" y="424"/>
                  </a:cxn>
                  <a:cxn ang="0">
                    <a:pos x="53" y="389"/>
                  </a:cxn>
                  <a:cxn ang="0">
                    <a:pos x="53" y="371"/>
                  </a:cxn>
                  <a:cxn ang="0">
                    <a:pos x="61" y="354"/>
                  </a:cxn>
                  <a:cxn ang="0">
                    <a:pos x="61" y="371"/>
                  </a:cxn>
                  <a:cxn ang="0">
                    <a:pos x="79" y="380"/>
                  </a:cxn>
                  <a:cxn ang="0">
                    <a:pos x="70" y="354"/>
                  </a:cxn>
                  <a:cxn ang="0">
                    <a:pos x="70" y="336"/>
                  </a:cxn>
                  <a:cxn ang="0">
                    <a:pos x="88" y="336"/>
                  </a:cxn>
                  <a:cxn ang="0">
                    <a:pos x="123" y="354"/>
                  </a:cxn>
                  <a:cxn ang="0">
                    <a:pos x="114" y="345"/>
                  </a:cxn>
                  <a:cxn ang="0">
                    <a:pos x="105" y="336"/>
                  </a:cxn>
                  <a:cxn ang="0">
                    <a:pos x="79" y="336"/>
                  </a:cxn>
                  <a:cxn ang="0">
                    <a:pos x="61" y="327"/>
                  </a:cxn>
                  <a:cxn ang="0">
                    <a:pos x="61" y="345"/>
                  </a:cxn>
                  <a:cxn ang="0">
                    <a:pos x="44" y="336"/>
                  </a:cxn>
                  <a:cxn ang="0">
                    <a:pos x="35" y="318"/>
                  </a:cxn>
                  <a:cxn ang="0">
                    <a:pos x="44" y="309"/>
                  </a:cxn>
                  <a:cxn ang="0">
                    <a:pos x="35" y="301"/>
                  </a:cxn>
                  <a:cxn ang="0">
                    <a:pos x="26" y="274"/>
                  </a:cxn>
                  <a:cxn ang="0">
                    <a:pos x="9" y="239"/>
                  </a:cxn>
                  <a:cxn ang="0">
                    <a:pos x="17" y="194"/>
                  </a:cxn>
                  <a:cxn ang="0">
                    <a:pos x="17" y="168"/>
                  </a:cxn>
                  <a:cxn ang="0">
                    <a:pos x="0" y="133"/>
                  </a:cxn>
                  <a:cxn ang="0">
                    <a:pos x="9" y="106"/>
                  </a:cxn>
                  <a:cxn ang="0">
                    <a:pos x="26" y="88"/>
                  </a:cxn>
                  <a:cxn ang="0">
                    <a:pos x="35" y="71"/>
                  </a:cxn>
                </a:cxnLst>
                <a:rect l="0" t="0" r="r" b="b"/>
                <a:pathLst>
                  <a:path w="510" h="858">
                    <a:moveTo>
                      <a:pt x="44" y="44"/>
                    </a:moveTo>
                    <a:lnTo>
                      <a:pt x="44" y="35"/>
                    </a:lnTo>
                    <a:lnTo>
                      <a:pt x="44" y="35"/>
                    </a:lnTo>
                    <a:lnTo>
                      <a:pt x="44" y="2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9"/>
                    </a:lnTo>
                    <a:lnTo>
                      <a:pt x="44" y="0"/>
                    </a:lnTo>
                    <a:lnTo>
                      <a:pt x="53" y="0"/>
                    </a:lnTo>
                    <a:lnTo>
                      <a:pt x="176" y="35"/>
                    </a:lnTo>
                    <a:lnTo>
                      <a:pt x="281" y="62"/>
                    </a:lnTo>
                    <a:lnTo>
                      <a:pt x="237" y="239"/>
                    </a:lnTo>
                    <a:lnTo>
                      <a:pt x="229" y="292"/>
                    </a:lnTo>
                    <a:lnTo>
                      <a:pt x="413" y="566"/>
                    </a:lnTo>
                    <a:lnTo>
                      <a:pt x="484" y="681"/>
                    </a:lnTo>
                    <a:lnTo>
                      <a:pt x="484" y="681"/>
                    </a:lnTo>
                    <a:lnTo>
                      <a:pt x="484" y="690"/>
                    </a:lnTo>
                    <a:lnTo>
                      <a:pt x="493" y="698"/>
                    </a:lnTo>
                    <a:lnTo>
                      <a:pt x="493" y="707"/>
                    </a:lnTo>
                    <a:lnTo>
                      <a:pt x="493" y="707"/>
                    </a:lnTo>
                    <a:lnTo>
                      <a:pt x="501" y="716"/>
                    </a:lnTo>
                    <a:lnTo>
                      <a:pt x="493" y="725"/>
                    </a:lnTo>
                    <a:lnTo>
                      <a:pt x="510" y="734"/>
                    </a:lnTo>
                    <a:lnTo>
                      <a:pt x="510" y="734"/>
                    </a:lnTo>
                    <a:lnTo>
                      <a:pt x="501" y="743"/>
                    </a:lnTo>
                    <a:lnTo>
                      <a:pt x="493" y="751"/>
                    </a:lnTo>
                    <a:lnTo>
                      <a:pt x="484" y="760"/>
                    </a:lnTo>
                    <a:lnTo>
                      <a:pt x="484" y="760"/>
                    </a:lnTo>
                    <a:lnTo>
                      <a:pt x="475" y="769"/>
                    </a:lnTo>
                    <a:lnTo>
                      <a:pt x="475" y="778"/>
                    </a:lnTo>
                    <a:lnTo>
                      <a:pt x="475" y="787"/>
                    </a:lnTo>
                    <a:lnTo>
                      <a:pt x="475" y="787"/>
                    </a:lnTo>
                    <a:lnTo>
                      <a:pt x="466" y="805"/>
                    </a:lnTo>
                    <a:lnTo>
                      <a:pt x="457" y="805"/>
                    </a:lnTo>
                    <a:lnTo>
                      <a:pt x="457" y="813"/>
                    </a:lnTo>
                    <a:lnTo>
                      <a:pt x="457" y="813"/>
                    </a:lnTo>
                    <a:lnTo>
                      <a:pt x="457" y="822"/>
                    </a:lnTo>
                    <a:lnTo>
                      <a:pt x="457" y="822"/>
                    </a:lnTo>
                    <a:lnTo>
                      <a:pt x="457" y="831"/>
                    </a:lnTo>
                    <a:lnTo>
                      <a:pt x="466" y="831"/>
                    </a:lnTo>
                    <a:lnTo>
                      <a:pt x="466" y="831"/>
                    </a:lnTo>
                    <a:lnTo>
                      <a:pt x="466" y="840"/>
                    </a:lnTo>
                    <a:lnTo>
                      <a:pt x="466" y="849"/>
                    </a:lnTo>
                    <a:lnTo>
                      <a:pt x="466" y="849"/>
                    </a:lnTo>
                    <a:lnTo>
                      <a:pt x="457" y="858"/>
                    </a:lnTo>
                    <a:lnTo>
                      <a:pt x="457" y="858"/>
                    </a:lnTo>
                    <a:lnTo>
                      <a:pt x="457" y="858"/>
                    </a:lnTo>
                    <a:lnTo>
                      <a:pt x="449" y="858"/>
                    </a:lnTo>
                    <a:lnTo>
                      <a:pt x="449" y="858"/>
                    </a:lnTo>
                    <a:lnTo>
                      <a:pt x="290" y="840"/>
                    </a:lnTo>
                    <a:lnTo>
                      <a:pt x="290" y="840"/>
                    </a:lnTo>
                    <a:lnTo>
                      <a:pt x="290" y="831"/>
                    </a:lnTo>
                    <a:lnTo>
                      <a:pt x="290" y="822"/>
                    </a:lnTo>
                    <a:lnTo>
                      <a:pt x="290" y="831"/>
                    </a:lnTo>
                    <a:lnTo>
                      <a:pt x="290" y="822"/>
                    </a:lnTo>
                    <a:lnTo>
                      <a:pt x="290" y="822"/>
                    </a:lnTo>
                    <a:lnTo>
                      <a:pt x="281" y="831"/>
                    </a:lnTo>
                    <a:lnTo>
                      <a:pt x="281" y="822"/>
                    </a:lnTo>
                    <a:lnTo>
                      <a:pt x="290" y="813"/>
                    </a:lnTo>
                    <a:lnTo>
                      <a:pt x="290" y="805"/>
                    </a:lnTo>
                    <a:lnTo>
                      <a:pt x="290" y="787"/>
                    </a:lnTo>
                    <a:lnTo>
                      <a:pt x="281" y="778"/>
                    </a:lnTo>
                    <a:lnTo>
                      <a:pt x="281" y="769"/>
                    </a:lnTo>
                    <a:lnTo>
                      <a:pt x="264" y="751"/>
                    </a:lnTo>
                    <a:lnTo>
                      <a:pt x="255" y="743"/>
                    </a:lnTo>
                    <a:lnTo>
                      <a:pt x="255" y="743"/>
                    </a:lnTo>
                    <a:lnTo>
                      <a:pt x="246" y="734"/>
                    </a:lnTo>
                    <a:lnTo>
                      <a:pt x="246" y="725"/>
                    </a:lnTo>
                    <a:lnTo>
                      <a:pt x="237" y="725"/>
                    </a:lnTo>
                    <a:lnTo>
                      <a:pt x="237" y="734"/>
                    </a:lnTo>
                    <a:lnTo>
                      <a:pt x="229" y="725"/>
                    </a:lnTo>
                    <a:lnTo>
                      <a:pt x="229" y="725"/>
                    </a:lnTo>
                    <a:lnTo>
                      <a:pt x="229" y="716"/>
                    </a:lnTo>
                    <a:lnTo>
                      <a:pt x="229" y="716"/>
                    </a:lnTo>
                    <a:lnTo>
                      <a:pt x="229" y="698"/>
                    </a:lnTo>
                    <a:lnTo>
                      <a:pt x="229" y="698"/>
                    </a:lnTo>
                    <a:lnTo>
                      <a:pt x="202" y="698"/>
                    </a:lnTo>
                    <a:lnTo>
                      <a:pt x="193" y="690"/>
                    </a:lnTo>
                    <a:lnTo>
                      <a:pt x="185" y="681"/>
                    </a:lnTo>
                    <a:lnTo>
                      <a:pt x="185" y="672"/>
                    </a:lnTo>
                    <a:lnTo>
                      <a:pt x="176" y="663"/>
                    </a:lnTo>
                    <a:lnTo>
                      <a:pt x="176" y="663"/>
                    </a:lnTo>
                    <a:lnTo>
                      <a:pt x="167" y="654"/>
                    </a:lnTo>
                    <a:lnTo>
                      <a:pt x="158" y="654"/>
                    </a:lnTo>
                    <a:lnTo>
                      <a:pt x="149" y="654"/>
                    </a:lnTo>
                    <a:lnTo>
                      <a:pt x="141" y="645"/>
                    </a:lnTo>
                    <a:lnTo>
                      <a:pt x="141" y="645"/>
                    </a:lnTo>
                    <a:lnTo>
                      <a:pt x="132" y="645"/>
                    </a:lnTo>
                    <a:lnTo>
                      <a:pt x="114" y="645"/>
                    </a:lnTo>
                    <a:lnTo>
                      <a:pt x="114" y="637"/>
                    </a:lnTo>
                    <a:lnTo>
                      <a:pt x="105" y="628"/>
                    </a:lnTo>
                    <a:lnTo>
                      <a:pt x="105" y="628"/>
                    </a:lnTo>
                    <a:lnTo>
                      <a:pt x="105" y="628"/>
                    </a:lnTo>
                    <a:lnTo>
                      <a:pt x="105" y="619"/>
                    </a:lnTo>
                    <a:lnTo>
                      <a:pt x="105" y="610"/>
                    </a:lnTo>
                    <a:lnTo>
                      <a:pt x="114" y="610"/>
                    </a:lnTo>
                    <a:lnTo>
                      <a:pt x="114" y="601"/>
                    </a:lnTo>
                    <a:lnTo>
                      <a:pt x="114" y="592"/>
                    </a:lnTo>
                    <a:lnTo>
                      <a:pt x="114" y="583"/>
                    </a:lnTo>
                    <a:lnTo>
                      <a:pt x="114" y="583"/>
                    </a:lnTo>
                    <a:lnTo>
                      <a:pt x="105" y="583"/>
                    </a:lnTo>
                    <a:lnTo>
                      <a:pt x="105" y="575"/>
                    </a:lnTo>
                    <a:lnTo>
                      <a:pt x="105" y="566"/>
                    </a:lnTo>
                    <a:lnTo>
                      <a:pt x="105" y="566"/>
                    </a:lnTo>
                    <a:lnTo>
                      <a:pt x="105" y="557"/>
                    </a:lnTo>
                    <a:lnTo>
                      <a:pt x="97" y="548"/>
                    </a:lnTo>
                    <a:lnTo>
                      <a:pt x="97" y="539"/>
                    </a:lnTo>
                    <a:lnTo>
                      <a:pt x="88" y="530"/>
                    </a:lnTo>
                    <a:lnTo>
                      <a:pt x="88" y="530"/>
                    </a:lnTo>
                    <a:lnTo>
                      <a:pt x="88" y="522"/>
                    </a:lnTo>
                    <a:lnTo>
                      <a:pt x="79" y="513"/>
                    </a:lnTo>
                    <a:lnTo>
                      <a:pt x="79" y="504"/>
                    </a:lnTo>
                    <a:lnTo>
                      <a:pt x="79" y="504"/>
                    </a:lnTo>
                    <a:lnTo>
                      <a:pt x="70" y="486"/>
                    </a:lnTo>
                    <a:lnTo>
                      <a:pt x="61" y="477"/>
                    </a:lnTo>
                    <a:lnTo>
                      <a:pt x="61" y="477"/>
                    </a:lnTo>
                    <a:lnTo>
                      <a:pt x="61" y="460"/>
                    </a:lnTo>
                    <a:lnTo>
                      <a:pt x="61" y="451"/>
                    </a:lnTo>
                    <a:lnTo>
                      <a:pt x="70" y="451"/>
                    </a:lnTo>
                    <a:lnTo>
                      <a:pt x="79" y="442"/>
                    </a:lnTo>
                    <a:lnTo>
                      <a:pt x="79" y="442"/>
                    </a:lnTo>
                    <a:lnTo>
                      <a:pt x="79" y="433"/>
                    </a:lnTo>
                    <a:lnTo>
                      <a:pt x="79" y="424"/>
                    </a:lnTo>
                    <a:lnTo>
                      <a:pt x="61" y="424"/>
                    </a:lnTo>
                    <a:lnTo>
                      <a:pt x="61" y="415"/>
                    </a:lnTo>
                    <a:lnTo>
                      <a:pt x="53" y="407"/>
                    </a:lnTo>
                    <a:lnTo>
                      <a:pt x="53" y="398"/>
                    </a:lnTo>
                    <a:lnTo>
                      <a:pt x="53" y="389"/>
                    </a:lnTo>
                    <a:lnTo>
                      <a:pt x="53" y="389"/>
                    </a:lnTo>
                    <a:lnTo>
                      <a:pt x="53" y="389"/>
                    </a:lnTo>
                    <a:lnTo>
                      <a:pt x="53" y="371"/>
                    </a:lnTo>
                    <a:lnTo>
                      <a:pt x="53" y="371"/>
                    </a:lnTo>
                    <a:lnTo>
                      <a:pt x="53" y="362"/>
                    </a:lnTo>
                    <a:lnTo>
                      <a:pt x="53" y="354"/>
                    </a:lnTo>
                    <a:lnTo>
                      <a:pt x="53" y="354"/>
                    </a:lnTo>
                    <a:lnTo>
                      <a:pt x="61" y="354"/>
                    </a:lnTo>
                    <a:lnTo>
                      <a:pt x="61" y="354"/>
                    </a:lnTo>
                    <a:lnTo>
                      <a:pt x="61" y="354"/>
                    </a:lnTo>
                    <a:lnTo>
                      <a:pt x="61" y="362"/>
                    </a:lnTo>
                    <a:lnTo>
                      <a:pt x="61" y="371"/>
                    </a:lnTo>
                    <a:lnTo>
                      <a:pt x="61" y="371"/>
                    </a:lnTo>
                    <a:lnTo>
                      <a:pt x="70" y="380"/>
                    </a:lnTo>
                    <a:lnTo>
                      <a:pt x="70" y="380"/>
                    </a:lnTo>
                    <a:lnTo>
                      <a:pt x="79" y="380"/>
                    </a:lnTo>
                    <a:lnTo>
                      <a:pt x="70" y="380"/>
                    </a:lnTo>
                    <a:lnTo>
                      <a:pt x="70" y="371"/>
                    </a:lnTo>
                    <a:lnTo>
                      <a:pt x="70" y="362"/>
                    </a:lnTo>
                    <a:lnTo>
                      <a:pt x="70" y="354"/>
                    </a:lnTo>
                    <a:lnTo>
                      <a:pt x="70" y="354"/>
                    </a:lnTo>
                    <a:lnTo>
                      <a:pt x="70" y="345"/>
                    </a:lnTo>
                    <a:lnTo>
                      <a:pt x="61" y="345"/>
                    </a:lnTo>
                    <a:lnTo>
                      <a:pt x="70" y="336"/>
                    </a:lnTo>
                    <a:lnTo>
                      <a:pt x="70" y="336"/>
                    </a:lnTo>
                    <a:lnTo>
                      <a:pt x="79" y="336"/>
                    </a:lnTo>
                    <a:lnTo>
                      <a:pt x="79" y="336"/>
                    </a:lnTo>
                    <a:lnTo>
                      <a:pt x="88" y="336"/>
                    </a:lnTo>
                    <a:lnTo>
                      <a:pt x="105" y="345"/>
                    </a:lnTo>
                    <a:lnTo>
                      <a:pt x="114" y="345"/>
                    </a:lnTo>
                    <a:lnTo>
                      <a:pt x="123" y="354"/>
                    </a:lnTo>
                    <a:lnTo>
                      <a:pt x="123" y="354"/>
                    </a:lnTo>
                    <a:lnTo>
                      <a:pt x="123" y="345"/>
                    </a:lnTo>
                    <a:lnTo>
                      <a:pt x="114" y="345"/>
                    </a:lnTo>
                    <a:lnTo>
                      <a:pt x="114" y="336"/>
                    </a:lnTo>
                    <a:lnTo>
                      <a:pt x="114" y="345"/>
                    </a:lnTo>
                    <a:lnTo>
                      <a:pt x="105" y="345"/>
                    </a:lnTo>
                    <a:lnTo>
                      <a:pt x="114" y="336"/>
                    </a:lnTo>
                    <a:lnTo>
                      <a:pt x="114" y="336"/>
                    </a:lnTo>
                    <a:lnTo>
                      <a:pt x="105" y="336"/>
                    </a:lnTo>
                    <a:lnTo>
                      <a:pt x="97" y="336"/>
                    </a:lnTo>
                    <a:lnTo>
                      <a:pt x="97" y="336"/>
                    </a:lnTo>
                    <a:lnTo>
                      <a:pt x="88" y="336"/>
                    </a:lnTo>
                    <a:lnTo>
                      <a:pt x="79" y="336"/>
                    </a:lnTo>
                    <a:lnTo>
                      <a:pt x="79" y="336"/>
                    </a:lnTo>
                    <a:lnTo>
                      <a:pt x="70" y="327"/>
                    </a:lnTo>
                    <a:lnTo>
                      <a:pt x="70" y="327"/>
                    </a:lnTo>
                    <a:lnTo>
                      <a:pt x="61" y="327"/>
                    </a:lnTo>
                    <a:lnTo>
                      <a:pt x="61" y="327"/>
                    </a:lnTo>
                    <a:lnTo>
                      <a:pt x="61" y="336"/>
                    </a:lnTo>
                    <a:lnTo>
                      <a:pt x="61" y="336"/>
                    </a:lnTo>
                    <a:lnTo>
                      <a:pt x="61" y="345"/>
                    </a:lnTo>
                    <a:lnTo>
                      <a:pt x="53" y="345"/>
                    </a:lnTo>
                    <a:lnTo>
                      <a:pt x="53" y="345"/>
                    </a:lnTo>
                    <a:lnTo>
                      <a:pt x="53" y="336"/>
                    </a:lnTo>
                    <a:lnTo>
                      <a:pt x="44" y="336"/>
                    </a:lnTo>
                    <a:lnTo>
                      <a:pt x="44" y="327"/>
                    </a:lnTo>
                    <a:lnTo>
                      <a:pt x="35" y="327"/>
                    </a:lnTo>
                    <a:lnTo>
                      <a:pt x="35" y="327"/>
                    </a:lnTo>
                    <a:lnTo>
                      <a:pt x="35" y="318"/>
                    </a:lnTo>
                    <a:lnTo>
                      <a:pt x="35" y="318"/>
                    </a:lnTo>
                    <a:lnTo>
                      <a:pt x="35" y="309"/>
                    </a:lnTo>
                    <a:lnTo>
                      <a:pt x="44" y="318"/>
                    </a:lnTo>
                    <a:lnTo>
                      <a:pt x="44" y="309"/>
                    </a:lnTo>
                    <a:lnTo>
                      <a:pt x="35" y="301"/>
                    </a:lnTo>
                    <a:lnTo>
                      <a:pt x="35" y="301"/>
                    </a:lnTo>
                    <a:lnTo>
                      <a:pt x="35" y="301"/>
                    </a:lnTo>
                    <a:lnTo>
                      <a:pt x="35" y="301"/>
                    </a:lnTo>
                    <a:lnTo>
                      <a:pt x="35" y="292"/>
                    </a:lnTo>
                    <a:lnTo>
                      <a:pt x="35" y="283"/>
                    </a:lnTo>
                    <a:lnTo>
                      <a:pt x="26" y="283"/>
                    </a:lnTo>
                    <a:lnTo>
                      <a:pt x="26" y="274"/>
                    </a:lnTo>
                    <a:lnTo>
                      <a:pt x="17" y="265"/>
                    </a:lnTo>
                    <a:lnTo>
                      <a:pt x="9" y="247"/>
                    </a:lnTo>
                    <a:lnTo>
                      <a:pt x="9" y="239"/>
                    </a:lnTo>
                    <a:lnTo>
                      <a:pt x="9" y="239"/>
                    </a:lnTo>
                    <a:lnTo>
                      <a:pt x="17" y="230"/>
                    </a:lnTo>
                    <a:lnTo>
                      <a:pt x="9" y="212"/>
                    </a:lnTo>
                    <a:lnTo>
                      <a:pt x="17" y="194"/>
                    </a:lnTo>
                    <a:lnTo>
                      <a:pt x="17" y="194"/>
                    </a:lnTo>
                    <a:lnTo>
                      <a:pt x="17" y="186"/>
                    </a:lnTo>
                    <a:lnTo>
                      <a:pt x="17" y="186"/>
                    </a:lnTo>
                    <a:lnTo>
                      <a:pt x="17" y="177"/>
                    </a:lnTo>
                    <a:lnTo>
                      <a:pt x="17" y="168"/>
                    </a:lnTo>
                    <a:lnTo>
                      <a:pt x="17" y="159"/>
                    </a:lnTo>
                    <a:lnTo>
                      <a:pt x="9" y="150"/>
                    </a:lnTo>
                    <a:lnTo>
                      <a:pt x="9" y="150"/>
                    </a:lnTo>
                    <a:lnTo>
                      <a:pt x="0" y="133"/>
                    </a:lnTo>
                    <a:lnTo>
                      <a:pt x="0" y="124"/>
                    </a:lnTo>
                    <a:lnTo>
                      <a:pt x="0" y="115"/>
                    </a:lnTo>
                    <a:lnTo>
                      <a:pt x="9" y="106"/>
                    </a:lnTo>
                    <a:lnTo>
                      <a:pt x="9" y="106"/>
                    </a:lnTo>
                    <a:lnTo>
                      <a:pt x="17" y="97"/>
                    </a:lnTo>
                    <a:lnTo>
                      <a:pt x="17" y="97"/>
                    </a:lnTo>
                    <a:lnTo>
                      <a:pt x="26" y="88"/>
                    </a:lnTo>
                    <a:lnTo>
                      <a:pt x="26" y="88"/>
                    </a:lnTo>
                    <a:lnTo>
                      <a:pt x="26" y="88"/>
                    </a:lnTo>
                    <a:lnTo>
                      <a:pt x="26" y="79"/>
                    </a:lnTo>
                    <a:lnTo>
                      <a:pt x="35" y="71"/>
                    </a:lnTo>
                    <a:lnTo>
                      <a:pt x="35" y="71"/>
                    </a:lnTo>
                    <a:lnTo>
                      <a:pt x="44" y="44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  <p:sp>
            <p:nvSpPr>
              <p:cNvPr id="19" name="Freeform 27"/>
              <p:cNvSpPr>
                <a:spLocks/>
              </p:cNvSpPr>
              <p:nvPr/>
            </p:nvSpPr>
            <p:spPr bwMode="auto">
              <a:xfrm>
                <a:off x="2111073" y="3109103"/>
                <a:ext cx="1168562" cy="1139046"/>
              </a:xfrm>
              <a:custGeom>
                <a:avLst/>
                <a:gdLst/>
                <a:ahLst/>
                <a:cxnLst>
                  <a:cxn ang="0">
                    <a:pos x="114" y="345"/>
                  </a:cxn>
                  <a:cxn ang="0">
                    <a:pos x="264" y="0"/>
                  </a:cxn>
                  <a:cxn ang="0">
                    <a:pos x="448" y="9"/>
                  </a:cxn>
                  <a:cxn ang="0">
                    <a:pos x="475" y="168"/>
                  </a:cxn>
                  <a:cxn ang="0">
                    <a:pos x="501" y="186"/>
                  </a:cxn>
                  <a:cxn ang="0">
                    <a:pos x="536" y="195"/>
                  </a:cxn>
                  <a:cxn ang="0">
                    <a:pos x="572" y="195"/>
                  </a:cxn>
                  <a:cxn ang="0">
                    <a:pos x="589" y="212"/>
                  </a:cxn>
                  <a:cxn ang="0">
                    <a:pos x="624" y="212"/>
                  </a:cxn>
                  <a:cxn ang="0">
                    <a:pos x="642" y="212"/>
                  </a:cxn>
                  <a:cxn ang="0">
                    <a:pos x="668" y="212"/>
                  </a:cxn>
                  <a:cxn ang="0">
                    <a:pos x="703" y="221"/>
                  </a:cxn>
                  <a:cxn ang="0">
                    <a:pos x="739" y="212"/>
                  </a:cxn>
                  <a:cxn ang="0">
                    <a:pos x="783" y="221"/>
                  </a:cxn>
                  <a:cxn ang="0">
                    <a:pos x="818" y="239"/>
                  </a:cxn>
                  <a:cxn ang="0">
                    <a:pos x="853" y="398"/>
                  </a:cxn>
                  <a:cxn ang="0">
                    <a:pos x="871" y="425"/>
                  </a:cxn>
                  <a:cxn ang="0">
                    <a:pos x="871" y="460"/>
                  </a:cxn>
                  <a:cxn ang="0">
                    <a:pos x="862" y="513"/>
                  </a:cxn>
                  <a:cxn ang="0">
                    <a:pos x="844" y="548"/>
                  </a:cxn>
                  <a:cxn ang="0">
                    <a:pos x="791" y="566"/>
                  </a:cxn>
                  <a:cxn ang="0">
                    <a:pos x="800" y="540"/>
                  </a:cxn>
                  <a:cxn ang="0">
                    <a:pos x="774" y="557"/>
                  </a:cxn>
                  <a:cxn ang="0">
                    <a:pos x="765" y="593"/>
                  </a:cxn>
                  <a:cxn ang="0">
                    <a:pos x="712" y="628"/>
                  </a:cxn>
                  <a:cxn ang="0">
                    <a:pos x="695" y="646"/>
                  </a:cxn>
                  <a:cxn ang="0">
                    <a:pos x="686" y="628"/>
                  </a:cxn>
                  <a:cxn ang="0">
                    <a:pos x="668" y="628"/>
                  </a:cxn>
                  <a:cxn ang="0">
                    <a:pos x="677" y="646"/>
                  </a:cxn>
                  <a:cxn ang="0">
                    <a:pos x="659" y="663"/>
                  </a:cxn>
                  <a:cxn ang="0">
                    <a:pos x="642" y="672"/>
                  </a:cxn>
                  <a:cxn ang="0">
                    <a:pos x="642" y="672"/>
                  </a:cxn>
                  <a:cxn ang="0">
                    <a:pos x="607" y="699"/>
                  </a:cxn>
                  <a:cxn ang="0">
                    <a:pos x="607" y="734"/>
                  </a:cxn>
                  <a:cxn ang="0">
                    <a:pos x="589" y="734"/>
                  </a:cxn>
                  <a:cxn ang="0">
                    <a:pos x="607" y="752"/>
                  </a:cxn>
                  <a:cxn ang="0">
                    <a:pos x="607" y="778"/>
                  </a:cxn>
                  <a:cxn ang="0">
                    <a:pos x="624" y="840"/>
                  </a:cxn>
                  <a:cxn ang="0">
                    <a:pos x="616" y="849"/>
                  </a:cxn>
                  <a:cxn ang="0">
                    <a:pos x="572" y="831"/>
                  </a:cxn>
                  <a:cxn ang="0">
                    <a:pos x="519" y="814"/>
                  </a:cxn>
                  <a:cxn ang="0">
                    <a:pos x="492" y="796"/>
                  </a:cxn>
                  <a:cxn ang="0">
                    <a:pos x="466" y="752"/>
                  </a:cxn>
                  <a:cxn ang="0">
                    <a:pos x="466" y="716"/>
                  </a:cxn>
                  <a:cxn ang="0">
                    <a:pos x="431" y="681"/>
                  </a:cxn>
                  <a:cxn ang="0">
                    <a:pos x="413" y="637"/>
                  </a:cxn>
                  <a:cxn ang="0">
                    <a:pos x="387" y="593"/>
                  </a:cxn>
                  <a:cxn ang="0">
                    <a:pos x="352" y="548"/>
                  </a:cxn>
                  <a:cxn ang="0">
                    <a:pos x="325" y="540"/>
                  </a:cxn>
                  <a:cxn ang="0">
                    <a:pos x="281" y="522"/>
                  </a:cxn>
                  <a:cxn ang="0">
                    <a:pos x="246" y="540"/>
                  </a:cxn>
                  <a:cxn ang="0">
                    <a:pos x="220" y="584"/>
                  </a:cxn>
                  <a:cxn ang="0">
                    <a:pos x="193" y="575"/>
                  </a:cxn>
                  <a:cxn ang="0">
                    <a:pos x="140" y="540"/>
                  </a:cxn>
                  <a:cxn ang="0">
                    <a:pos x="114" y="487"/>
                  </a:cxn>
                  <a:cxn ang="0">
                    <a:pos x="96" y="442"/>
                  </a:cxn>
                  <a:cxn ang="0">
                    <a:pos x="44" y="389"/>
                  </a:cxn>
                  <a:cxn ang="0">
                    <a:pos x="17" y="354"/>
                  </a:cxn>
                </a:cxnLst>
                <a:rect l="0" t="0" r="r" b="b"/>
                <a:pathLst>
                  <a:path w="871" h="849">
                    <a:moveTo>
                      <a:pt x="8" y="354"/>
                    </a:moveTo>
                    <a:lnTo>
                      <a:pt x="8" y="345"/>
                    </a:lnTo>
                    <a:lnTo>
                      <a:pt x="0" y="345"/>
                    </a:lnTo>
                    <a:lnTo>
                      <a:pt x="0" y="336"/>
                    </a:lnTo>
                    <a:lnTo>
                      <a:pt x="0" y="336"/>
                    </a:lnTo>
                    <a:lnTo>
                      <a:pt x="52" y="336"/>
                    </a:lnTo>
                    <a:lnTo>
                      <a:pt x="114" y="345"/>
                    </a:lnTo>
                    <a:lnTo>
                      <a:pt x="176" y="345"/>
                    </a:lnTo>
                    <a:lnTo>
                      <a:pt x="228" y="354"/>
                    </a:lnTo>
                    <a:lnTo>
                      <a:pt x="237" y="354"/>
                    </a:lnTo>
                    <a:lnTo>
                      <a:pt x="237" y="345"/>
                    </a:lnTo>
                    <a:lnTo>
                      <a:pt x="246" y="265"/>
                    </a:lnTo>
                    <a:lnTo>
                      <a:pt x="246" y="195"/>
                    </a:lnTo>
                    <a:lnTo>
                      <a:pt x="264" y="0"/>
                    </a:lnTo>
                    <a:lnTo>
                      <a:pt x="264" y="0"/>
                    </a:lnTo>
                    <a:lnTo>
                      <a:pt x="264" y="0"/>
                    </a:lnTo>
                    <a:lnTo>
                      <a:pt x="352" y="0"/>
                    </a:lnTo>
                    <a:lnTo>
                      <a:pt x="413" y="0"/>
                    </a:lnTo>
                    <a:lnTo>
                      <a:pt x="440" y="0"/>
                    </a:lnTo>
                    <a:lnTo>
                      <a:pt x="448" y="0"/>
                    </a:lnTo>
                    <a:lnTo>
                      <a:pt x="448" y="9"/>
                    </a:lnTo>
                    <a:lnTo>
                      <a:pt x="448" y="151"/>
                    </a:lnTo>
                    <a:lnTo>
                      <a:pt x="448" y="159"/>
                    </a:lnTo>
                    <a:lnTo>
                      <a:pt x="448" y="159"/>
                    </a:lnTo>
                    <a:lnTo>
                      <a:pt x="457" y="159"/>
                    </a:lnTo>
                    <a:lnTo>
                      <a:pt x="466" y="168"/>
                    </a:lnTo>
                    <a:lnTo>
                      <a:pt x="475" y="177"/>
                    </a:lnTo>
                    <a:lnTo>
                      <a:pt x="475" y="168"/>
                    </a:lnTo>
                    <a:lnTo>
                      <a:pt x="484" y="177"/>
                    </a:lnTo>
                    <a:lnTo>
                      <a:pt x="484" y="177"/>
                    </a:lnTo>
                    <a:lnTo>
                      <a:pt x="492" y="168"/>
                    </a:lnTo>
                    <a:lnTo>
                      <a:pt x="492" y="168"/>
                    </a:lnTo>
                    <a:lnTo>
                      <a:pt x="492" y="177"/>
                    </a:lnTo>
                    <a:lnTo>
                      <a:pt x="501" y="177"/>
                    </a:lnTo>
                    <a:lnTo>
                      <a:pt x="501" y="186"/>
                    </a:lnTo>
                    <a:lnTo>
                      <a:pt x="501" y="186"/>
                    </a:lnTo>
                    <a:lnTo>
                      <a:pt x="510" y="186"/>
                    </a:lnTo>
                    <a:lnTo>
                      <a:pt x="510" y="186"/>
                    </a:lnTo>
                    <a:lnTo>
                      <a:pt x="510" y="186"/>
                    </a:lnTo>
                    <a:lnTo>
                      <a:pt x="519" y="195"/>
                    </a:lnTo>
                    <a:lnTo>
                      <a:pt x="528" y="195"/>
                    </a:lnTo>
                    <a:lnTo>
                      <a:pt x="536" y="195"/>
                    </a:lnTo>
                    <a:lnTo>
                      <a:pt x="536" y="195"/>
                    </a:lnTo>
                    <a:lnTo>
                      <a:pt x="545" y="195"/>
                    </a:lnTo>
                    <a:lnTo>
                      <a:pt x="545" y="204"/>
                    </a:lnTo>
                    <a:lnTo>
                      <a:pt x="554" y="204"/>
                    </a:lnTo>
                    <a:lnTo>
                      <a:pt x="554" y="195"/>
                    </a:lnTo>
                    <a:lnTo>
                      <a:pt x="563" y="195"/>
                    </a:lnTo>
                    <a:lnTo>
                      <a:pt x="572" y="195"/>
                    </a:lnTo>
                    <a:lnTo>
                      <a:pt x="572" y="204"/>
                    </a:lnTo>
                    <a:lnTo>
                      <a:pt x="572" y="204"/>
                    </a:lnTo>
                    <a:lnTo>
                      <a:pt x="580" y="204"/>
                    </a:lnTo>
                    <a:lnTo>
                      <a:pt x="580" y="212"/>
                    </a:lnTo>
                    <a:lnTo>
                      <a:pt x="580" y="212"/>
                    </a:lnTo>
                    <a:lnTo>
                      <a:pt x="580" y="221"/>
                    </a:lnTo>
                    <a:lnTo>
                      <a:pt x="589" y="212"/>
                    </a:lnTo>
                    <a:lnTo>
                      <a:pt x="598" y="204"/>
                    </a:lnTo>
                    <a:lnTo>
                      <a:pt x="607" y="212"/>
                    </a:lnTo>
                    <a:lnTo>
                      <a:pt x="607" y="212"/>
                    </a:lnTo>
                    <a:lnTo>
                      <a:pt x="607" y="212"/>
                    </a:lnTo>
                    <a:lnTo>
                      <a:pt x="616" y="221"/>
                    </a:lnTo>
                    <a:lnTo>
                      <a:pt x="616" y="221"/>
                    </a:lnTo>
                    <a:lnTo>
                      <a:pt x="624" y="212"/>
                    </a:lnTo>
                    <a:lnTo>
                      <a:pt x="633" y="221"/>
                    </a:lnTo>
                    <a:lnTo>
                      <a:pt x="624" y="221"/>
                    </a:lnTo>
                    <a:lnTo>
                      <a:pt x="633" y="230"/>
                    </a:lnTo>
                    <a:lnTo>
                      <a:pt x="633" y="230"/>
                    </a:lnTo>
                    <a:lnTo>
                      <a:pt x="633" y="230"/>
                    </a:lnTo>
                    <a:lnTo>
                      <a:pt x="633" y="221"/>
                    </a:lnTo>
                    <a:lnTo>
                      <a:pt x="642" y="212"/>
                    </a:lnTo>
                    <a:lnTo>
                      <a:pt x="642" y="212"/>
                    </a:lnTo>
                    <a:lnTo>
                      <a:pt x="642" y="212"/>
                    </a:lnTo>
                    <a:lnTo>
                      <a:pt x="651" y="212"/>
                    </a:lnTo>
                    <a:lnTo>
                      <a:pt x="651" y="221"/>
                    </a:lnTo>
                    <a:lnTo>
                      <a:pt x="659" y="221"/>
                    </a:lnTo>
                    <a:lnTo>
                      <a:pt x="659" y="212"/>
                    </a:lnTo>
                    <a:lnTo>
                      <a:pt x="668" y="212"/>
                    </a:lnTo>
                    <a:lnTo>
                      <a:pt x="668" y="221"/>
                    </a:lnTo>
                    <a:lnTo>
                      <a:pt x="677" y="221"/>
                    </a:lnTo>
                    <a:lnTo>
                      <a:pt x="677" y="230"/>
                    </a:lnTo>
                    <a:lnTo>
                      <a:pt x="686" y="230"/>
                    </a:lnTo>
                    <a:lnTo>
                      <a:pt x="686" y="221"/>
                    </a:lnTo>
                    <a:lnTo>
                      <a:pt x="695" y="221"/>
                    </a:lnTo>
                    <a:lnTo>
                      <a:pt x="703" y="221"/>
                    </a:lnTo>
                    <a:lnTo>
                      <a:pt x="703" y="221"/>
                    </a:lnTo>
                    <a:lnTo>
                      <a:pt x="712" y="212"/>
                    </a:lnTo>
                    <a:lnTo>
                      <a:pt x="712" y="221"/>
                    </a:lnTo>
                    <a:lnTo>
                      <a:pt x="721" y="221"/>
                    </a:lnTo>
                    <a:lnTo>
                      <a:pt x="721" y="212"/>
                    </a:lnTo>
                    <a:lnTo>
                      <a:pt x="730" y="212"/>
                    </a:lnTo>
                    <a:lnTo>
                      <a:pt x="739" y="212"/>
                    </a:lnTo>
                    <a:lnTo>
                      <a:pt x="739" y="212"/>
                    </a:lnTo>
                    <a:lnTo>
                      <a:pt x="747" y="212"/>
                    </a:lnTo>
                    <a:lnTo>
                      <a:pt x="747" y="212"/>
                    </a:lnTo>
                    <a:lnTo>
                      <a:pt x="756" y="212"/>
                    </a:lnTo>
                    <a:lnTo>
                      <a:pt x="756" y="212"/>
                    </a:lnTo>
                    <a:lnTo>
                      <a:pt x="774" y="221"/>
                    </a:lnTo>
                    <a:lnTo>
                      <a:pt x="783" y="221"/>
                    </a:lnTo>
                    <a:lnTo>
                      <a:pt x="783" y="230"/>
                    </a:lnTo>
                    <a:lnTo>
                      <a:pt x="791" y="230"/>
                    </a:lnTo>
                    <a:lnTo>
                      <a:pt x="800" y="230"/>
                    </a:lnTo>
                    <a:lnTo>
                      <a:pt x="809" y="230"/>
                    </a:lnTo>
                    <a:lnTo>
                      <a:pt x="809" y="239"/>
                    </a:lnTo>
                    <a:lnTo>
                      <a:pt x="809" y="239"/>
                    </a:lnTo>
                    <a:lnTo>
                      <a:pt x="818" y="239"/>
                    </a:lnTo>
                    <a:lnTo>
                      <a:pt x="835" y="239"/>
                    </a:lnTo>
                    <a:lnTo>
                      <a:pt x="835" y="283"/>
                    </a:lnTo>
                    <a:lnTo>
                      <a:pt x="835" y="363"/>
                    </a:lnTo>
                    <a:lnTo>
                      <a:pt x="844" y="372"/>
                    </a:lnTo>
                    <a:lnTo>
                      <a:pt x="853" y="372"/>
                    </a:lnTo>
                    <a:lnTo>
                      <a:pt x="853" y="389"/>
                    </a:lnTo>
                    <a:lnTo>
                      <a:pt x="853" y="398"/>
                    </a:lnTo>
                    <a:lnTo>
                      <a:pt x="853" y="398"/>
                    </a:lnTo>
                    <a:lnTo>
                      <a:pt x="862" y="407"/>
                    </a:lnTo>
                    <a:lnTo>
                      <a:pt x="862" y="407"/>
                    </a:lnTo>
                    <a:lnTo>
                      <a:pt x="862" y="407"/>
                    </a:lnTo>
                    <a:lnTo>
                      <a:pt x="862" y="416"/>
                    </a:lnTo>
                    <a:lnTo>
                      <a:pt x="871" y="425"/>
                    </a:lnTo>
                    <a:lnTo>
                      <a:pt x="871" y="425"/>
                    </a:lnTo>
                    <a:lnTo>
                      <a:pt x="871" y="433"/>
                    </a:lnTo>
                    <a:lnTo>
                      <a:pt x="871" y="433"/>
                    </a:lnTo>
                    <a:lnTo>
                      <a:pt x="871" y="442"/>
                    </a:lnTo>
                    <a:lnTo>
                      <a:pt x="871" y="442"/>
                    </a:lnTo>
                    <a:lnTo>
                      <a:pt x="871" y="451"/>
                    </a:lnTo>
                    <a:lnTo>
                      <a:pt x="871" y="451"/>
                    </a:lnTo>
                    <a:lnTo>
                      <a:pt x="871" y="460"/>
                    </a:lnTo>
                    <a:lnTo>
                      <a:pt x="871" y="469"/>
                    </a:lnTo>
                    <a:lnTo>
                      <a:pt x="862" y="469"/>
                    </a:lnTo>
                    <a:lnTo>
                      <a:pt x="862" y="478"/>
                    </a:lnTo>
                    <a:lnTo>
                      <a:pt x="862" y="487"/>
                    </a:lnTo>
                    <a:lnTo>
                      <a:pt x="862" y="487"/>
                    </a:lnTo>
                    <a:lnTo>
                      <a:pt x="862" y="495"/>
                    </a:lnTo>
                    <a:lnTo>
                      <a:pt x="862" y="513"/>
                    </a:lnTo>
                    <a:lnTo>
                      <a:pt x="862" y="513"/>
                    </a:lnTo>
                    <a:lnTo>
                      <a:pt x="862" y="522"/>
                    </a:lnTo>
                    <a:lnTo>
                      <a:pt x="862" y="522"/>
                    </a:lnTo>
                    <a:lnTo>
                      <a:pt x="853" y="522"/>
                    </a:lnTo>
                    <a:lnTo>
                      <a:pt x="844" y="540"/>
                    </a:lnTo>
                    <a:lnTo>
                      <a:pt x="853" y="548"/>
                    </a:lnTo>
                    <a:lnTo>
                      <a:pt x="844" y="548"/>
                    </a:lnTo>
                    <a:lnTo>
                      <a:pt x="827" y="557"/>
                    </a:lnTo>
                    <a:lnTo>
                      <a:pt x="809" y="566"/>
                    </a:lnTo>
                    <a:lnTo>
                      <a:pt x="800" y="566"/>
                    </a:lnTo>
                    <a:lnTo>
                      <a:pt x="800" y="566"/>
                    </a:lnTo>
                    <a:lnTo>
                      <a:pt x="791" y="575"/>
                    </a:lnTo>
                    <a:lnTo>
                      <a:pt x="791" y="575"/>
                    </a:lnTo>
                    <a:lnTo>
                      <a:pt x="791" y="566"/>
                    </a:lnTo>
                    <a:lnTo>
                      <a:pt x="809" y="557"/>
                    </a:lnTo>
                    <a:lnTo>
                      <a:pt x="809" y="557"/>
                    </a:lnTo>
                    <a:lnTo>
                      <a:pt x="809" y="557"/>
                    </a:lnTo>
                    <a:lnTo>
                      <a:pt x="800" y="557"/>
                    </a:lnTo>
                    <a:lnTo>
                      <a:pt x="791" y="557"/>
                    </a:lnTo>
                    <a:lnTo>
                      <a:pt x="800" y="548"/>
                    </a:lnTo>
                    <a:lnTo>
                      <a:pt x="800" y="540"/>
                    </a:lnTo>
                    <a:lnTo>
                      <a:pt x="791" y="540"/>
                    </a:lnTo>
                    <a:lnTo>
                      <a:pt x="783" y="548"/>
                    </a:lnTo>
                    <a:lnTo>
                      <a:pt x="783" y="548"/>
                    </a:lnTo>
                    <a:lnTo>
                      <a:pt x="774" y="548"/>
                    </a:lnTo>
                    <a:lnTo>
                      <a:pt x="774" y="548"/>
                    </a:lnTo>
                    <a:lnTo>
                      <a:pt x="774" y="548"/>
                    </a:lnTo>
                    <a:lnTo>
                      <a:pt x="774" y="557"/>
                    </a:lnTo>
                    <a:lnTo>
                      <a:pt x="783" y="557"/>
                    </a:lnTo>
                    <a:lnTo>
                      <a:pt x="783" y="566"/>
                    </a:lnTo>
                    <a:lnTo>
                      <a:pt x="783" y="575"/>
                    </a:lnTo>
                    <a:lnTo>
                      <a:pt x="783" y="575"/>
                    </a:lnTo>
                    <a:lnTo>
                      <a:pt x="783" y="584"/>
                    </a:lnTo>
                    <a:lnTo>
                      <a:pt x="774" y="584"/>
                    </a:lnTo>
                    <a:lnTo>
                      <a:pt x="765" y="593"/>
                    </a:lnTo>
                    <a:lnTo>
                      <a:pt x="765" y="601"/>
                    </a:lnTo>
                    <a:lnTo>
                      <a:pt x="756" y="610"/>
                    </a:lnTo>
                    <a:lnTo>
                      <a:pt x="756" y="610"/>
                    </a:lnTo>
                    <a:lnTo>
                      <a:pt x="747" y="619"/>
                    </a:lnTo>
                    <a:lnTo>
                      <a:pt x="739" y="619"/>
                    </a:lnTo>
                    <a:lnTo>
                      <a:pt x="721" y="619"/>
                    </a:lnTo>
                    <a:lnTo>
                      <a:pt x="712" y="628"/>
                    </a:lnTo>
                    <a:lnTo>
                      <a:pt x="712" y="628"/>
                    </a:lnTo>
                    <a:lnTo>
                      <a:pt x="721" y="628"/>
                    </a:lnTo>
                    <a:lnTo>
                      <a:pt x="730" y="628"/>
                    </a:lnTo>
                    <a:lnTo>
                      <a:pt x="721" y="628"/>
                    </a:lnTo>
                    <a:lnTo>
                      <a:pt x="712" y="637"/>
                    </a:lnTo>
                    <a:lnTo>
                      <a:pt x="695" y="646"/>
                    </a:lnTo>
                    <a:lnTo>
                      <a:pt x="695" y="646"/>
                    </a:lnTo>
                    <a:lnTo>
                      <a:pt x="703" y="637"/>
                    </a:lnTo>
                    <a:lnTo>
                      <a:pt x="703" y="628"/>
                    </a:lnTo>
                    <a:lnTo>
                      <a:pt x="695" y="637"/>
                    </a:lnTo>
                    <a:lnTo>
                      <a:pt x="703" y="628"/>
                    </a:lnTo>
                    <a:lnTo>
                      <a:pt x="695" y="637"/>
                    </a:lnTo>
                    <a:lnTo>
                      <a:pt x="695" y="628"/>
                    </a:lnTo>
                    <a:lnTo>
                      <a:pt x="686" y="628"/>
                    </a:lnTo>
                    <a:lnTo>
                      <a:pt x="686" y="628"/>
                    </a:lnTo>
                    <a:lnTo>
                      <a:pt x="677" y="619"/>
                    </a:lnTo>
                    <a:lnTo>
                      <a:pt x="677" y="628"/>
                    </a:lnTo>
                    <a:lnTo>
                      <a:pt x="686" y="637"/>
                    </a:lnTo>
                    <a:lnTo>
                      <a:pt x="677" y="637"/>
                    </a:lnTo>
                    <a:lnTo>
                      <a:pt x="668" y="628"/>
                    </a:lnTo>
                    <a:lnTo>
                      <a:pt x="668" y="628"/>
                    </a:lnTo>
                    <a:lnTo>
                      <a:pt x="668" y="628"/>
                    </a:lnTo>
                    <a:lnTo>
                      <a:pt x="668" y="637"/>
                    </a:lnTo>
                    <a:lnTo>
                      <a:pt x="677" y="637"/>
                    </a:lnTo>
                    <a:lnTo>
                      <a:pt x="668" y="646"/>
                    </a:lnTo>
                    <a:lnTo>
                      <a:pt x="677" y="646"/>
                    </a:lnTo>
                    <a:lnTo>
                      <a:pt x="686" y="646"/>
                    </a:lnTo>
                    <a:lnTo>
                      <a:pt x="677" y="646"/>
                    </a:lnTo>
                    <a:lnTo>
                      <a:pt x="668" y="655"/>
                    </a:lnTo>
                    <a:lnTo>
                      <a:pt x="659" y="655"/>
                    </a:lnTo>
                    <a:lnTo>
                      <a:pt x="651" y="646"/>
                    </a:lnTo>
                    <a:lnTo>
                      <a:pt x="659" y="646"/>
                    </a:lnTo>
                    <a:lnTo>
                      <a:pt x="651" y="655"/>
                    </a:lnTo>
                    <a:lnTo>
                      <a:pt x="659" y="655"/>
                    </a:lnTo>
                    <a:lnTo>
                      <a:pt x="659" y="663"/>
                    </a:lnTo>
                    <a:lnTo>
                      <a:pt x="651" y="672"/>
                    </a:lnTo>
                    <a:lnTo>
                      <a:pt x="642" y="672"/>
                    </a:lnTo>
                    <a:lnTo>
                      <a:pt x="651" y="663"/>
                    </a:lnTo>
                    <a:lnTo>
                      <a:pt x="651" y="663"/>
                    </a:lnTo>
                    <a:lnTo>
                      <a:pt x="642" y="663"/>
                    </a:lnTo>
                    <a:lnTo>
                      <a:pt x="642" y="672"/>
                    </a:lnTo>
                    <a:lnTo>
                      <a:pt x="642" y="672"/>
                    </a:lnTo>
                    <a:lnTo>
                      <a:pt x="633" y="672"/>
                    </a:lnTo>
                    <a:lnTo>
                      <a:pt x="624" y="672"/>
                    </a:lnTo>
                    <a:lnTo>
                      <a:pt x="633" y="672"/>
                    </a:lnTo>
                    <a:lnTo>
                      <a:pt x="624" y="681"/>
                    </a:lnTo>
                    <a:lnTo>
                      <a:pt x="633" y="681"/>
                    </a:lnTo>
                    <a:lnTo>
                      <a:pt x="633" y="681"/>
                    </a:lnTo>
                    <a:lnTo>
                      <a:pt x="642" y="672"/>
                    </a:lnTo>
                    <a:lnTo>
                      <a:pt x="642" y="681"/>
                    </a:lnTo>
                    <a:lnTo>
                      <a:pt x="633" y="681"/>
                    </a:lnTo>
                    <a:lnTo>
                      <a:pt x="624" y="699"/>
                    </a:lnTo>
                    <a:lnTo>
                      <a:pt x="624" y="690"/>
                    </a:lnTo>
                    <a:lnTo>
                      <a:pt x="607" y="690"/>
                    </a:lnTo>
                    <a:lnTo>
                      <a:pt x="607" y="690"/>
                    </a:lnTo>
                    <a:lnTo>
                      <a:pt x="607" y="699"/>
                    </a:lnTo>
                    <a:lnTo>
                      <a:pt x="616" y="699"/>
                    </a:lnTo>
                    <a:lnTo>
                      <a:pt x="616" y="699"/>
                    </a:lnTo>
                    <a:lnTo>
                      <a:pt x="616" y="708"/>
                    </a:lnTo>
                    <a:lnTo>
                      <a:pt x="616" y="708"/>
                    </a:lnTo>
                    <a:lnTo>
                      <a:pt x="624" y="708"/>
                    </a:lnTo>
                    <a:lnTo>
                      <a:pt x="607" y="734"/>
                    </a:lnTo>
                    <a:lnTo>
                      <a:pt x="607" y="734"/>
                    </a:lnTo>
                    <a:lnTo>
                      <a:pt x="607" y="734"/>
                    </a:lnTo>
                    <a:lnTo>
                      <a:pt x="607" y="734"/>
                    </a:lnTo>
                    <a:lnTo>
                      <a:pt x="598" y="734"/>
                    </a:lnTo>
                    <a:lnTo>
                      <a:pt x="598" y="734"/>
                    </a:lnTo>
                    <a:lnTo>
                      <a:pt x="589" y="725"/>
                    </a:lnTo>
                    <a:lnTo>
                      <a:pt x="589" y="725"/>
                    </a:lnTo>
                    <a:lnTo>
                      <a:pt x="589" y="734"/>
                    </a:lnTo>
                    <a:lnTo>
                      <a:pt x="589" y="734"/>
                    </a:lnTo>
                    <a:lnTo>
                      <a:pt x="589" y="743"/>
                    </a:lnTo>
                    <a:lnTo>
                      <a:pt x="598" y="743"/>
                    </a:lnTo>
                    <a:lnTo>
                      <a:pt x="607" y="743"/>
                    </a:lnTo>
                    <a:lnTo>
                      <a:pt x="607" y="743"/>
                    </a:lnTo>
                    <a:lnTo>
                      <a:pt x="607" y="752"/>
                    </a:lnTo>
                    <a:lnTo>
                      <a:pt x="607" y="752"/>
                    </a:lnTo>
                    <a:lnTo>
                      <a:pt x="607" y="761"/>
                    </a:lnTo>
                    <a:lnTo>
                      <a:pt x="598" y="761"/>
                    </a:lnTo>
                    <a:lnTo>
                      <a:pt x="598" y="761"/>
                    </a:lnTo>
                    <a:lnTo>
                      <a:pt x="607" y="769"/>
                    </a:lnTo>
                    <a:lnTo>
                      <a:pt x="598" y="769"/>
                    </a:lnTo>
                    <a:lnTo>
                      <a:pt x="598" y="778"/>
                    </a:lnTo>
                    <a:lnTo>
                      <a:pt x="607" y="778"/>
                    </a:lnTo>
                    <a:lnTo>
                      <a:pt x="607" y="796"/>
                    </a:lnTo>
                    <a:lnTo>
                      <a:pt x="607" y="805"/>
                    </a:lnTo>
                    <a:lnTo>
                      <a:pt x="616" y="823"/>
                    </a:lnTo>
                    <a:lnTo>
                      <a:pt x="616" y="831"/>
                    </a:lnTo>
                    <a:lnTo>
                      <a:pt x="624" y="831"/>
                    </a:lnTo>
                    <a:lnTo>
                      <a:pt x="616" y="831"/>
                    </a:lnTo>
                    <a:lnTo>
                      <a:pt x="624" y="840"/>
                    </a:lnTo>
                    <a:lnTo>
                      <a:pt x="624" y="831"/>
                    </a:lnTo>
                    <a:lnTo>
                      <a:pt x="624" y="840"/>
                    </a:lnTo>
                    <a:lnTo>
                      <a:pt x="633" y="840"/>
                    </a:lnTo>
                    <a:lnTo>
                      <a:pt x="633" y="840"/>
                    </a:lnTo>
                    <a:lnTo>
                      <a:pt x="624" y="840"/>
                    </a:lnTo>
                    <a:lnTo>
                      <a:pt x="616" y="849"/>
                    </a:lnTo>
                    <a:lnTo>
                      <a:pt x="616" y="849"/>
                    </a:lnTo>
                    <a:lnTo>
                      <a:pt x="607" y="849"/>
                    </a:lnTo>
                    <a:lnTo>
                      <a:pt x="607" y="849"/>
                    </a:lnTo>
                    <a:lnTo>
                      <a:pt x="607" y="849"/>
                    </a:lnTo>
                    <a:lnTo>
                      <a:pt x="598" y="840"/>
                    </a:lnTo>
                    <a:lnTo>
                      <a:pt x="589" y="840"/>
                    </a:lnTo>
                    <a:lnTo>
                      <a:pt x="589" y="831"/>
                    </a:lnTo>
                    <a:lnTo>
                      <a:pt x="572" y="831"/>
                    </a:lnTo>
                    <a:lnTo>
                      <a:pt x="554" y="831"/>
                    </a:lnTo>
                    <a:lnTo>
                      <a:pt x="545" y="831"/>
                    </a:lnTo>
                    <a:lnTo>
                      <a:pt x="536" y="823"/>
                    </a:lnTo>
                    <a:lnTo>
                      <a:pt x="536" y="823"/>
                    </a:lnTo>
                    <a:lnTo>
                      <a:pt x="528" y="823"/>
                    </a:lnTo>
                    <a:lnTo>
                      <a:pt x="528" y="823"/>
                    </a:lnTo>
                    <a:lnTo>
                      <a:pt x="519" y="814"/>
                    </a:lnTo>
                    <a:lnTo>
                      <a:pt x="519" y="814"/>
                    </a:lnTo>
                    <a:lnTo>
                      <a:pt x="510" y="814"/>
                    </a:lnTo>
                    <a:lnTo>
                      <a:pt x="510" y="814"/>
                    </a:lnTo>
                    <a:lnTo>
                      <a:pt x="501" y="805"/>
                    </a:lnTo>
                    <a:lnTo>
                      <a:pt x="492" y="805"/>
                    </a:lnTo>
                    <a:lnTo>
                      <a:pt x="492" y="805"/>
                    </a:lnTo>
                    <a:lnTo>
                      <a:pt x="492" y="796"/>
                    </a:lnTo>
                    <a:lnTo>
                      <a:pt x="484" y="796"/>
                    </a:lnTo>
                    <a:lnTo>
                      <a:pt x="484" y="787"/>
                    </a:lnTo>
                    <a:lnTo>
                      <a:pt x="484" y="769"/>
                    </a:lnTo>
                    <a:lnTo>
                      <a:pt x="475" y="769"/>
                    </a:lnTo>
                    <a:lnTo>
                      <a:pt x="475" y="761"/>
                    </a:lnTo>
                    <a:lnTo>
                      <a:pt x="466" y="752"/>
                    </a:lnTo>
                    <a:lnTo>
                      <a:pt x="466" y="752"/>
                    </a:lnTo>
                    <a:lnTo>
                      <a:pt x="466" y="743"/>
                    </a:lnTo>
                    <a:lnTo>
                      <a:pt x="466" y="743"/>
                    </a:lnTo>
                    <a:lnTo>
                      <a:pt x="466" y="734"/>
                    </a:lnTo>
                    <a:lnTo>
                      <a:pt x="466" y="725"/>
                    </a:lnTo>
                    <a:lnTo>
                      <a:pt x="466" y="725"/>
                    </a:lnTo>
                    <a:lnTo>
                      <a:pt x="466" y="716"/>
                    </a:lnTo>
                    <a:lnTo>
                      <a:pt x="466" y="716"/>
                    </a:lnTo>
                    <a:lnTo>
                      <a:pt x="466" y="708"/>
                    </a:lnTo>
                    <a:lnTo>
                      <a:pt x="457" y="708"/>
                    </a:lnTo>
                    <a:lnTo>
                      <a:pt x="448" y="708"/>
                    </a:lnTo>
                    <a:lnTo>
                      <a:pt x="440" y="690"/>
                    </a:lnTo>
                    <a:lnTo>
                      <a:pt x="440" y="690"/>
                    </a:lnTo>
                    <a:lnTo>
                      <a:pt x="440" y="681"/>
                    </a:lnTo>
                    <a:lnTo>
                      <a:pt x="431" y="681"/>
                    </a:lnTo>
                    <a:lnTo>
                      <a:pt x="431" y="672"/>
                    </a:lnTo>
                    <a:lnTo>
                      <a:pt x="422" y="663"/>
                    </a:lnTo>
                    <a:lnTo>
                      <a:pt x="422" y="663"/>
                    </a:lnTo>
                    <a:lnTo>
                      <a:pt x="413" y="663"/>
                    </a:lnTo>
                    <a:lnTo>
                      <a:pt x="413" y="646"/>
                    </a:lnTo>
                    <a:lnTo>
                      <a:pt x="404" y="637"/>
                    </a:lnTo>
                    <a:lnTo>
                      <a:pt x="413" y="637"/>
                    </a:lnTo>
                    <a:lnTo>
                      <a:pt x="404" y="628"/>
                    </a:lnTo>
                    <a:lnTo>
                      <a:pt x="404" y="628"/>
                    </a:lnTo>
                    <a:lnTo>
                      <a:pt x="396" y="619"/>
                    </a:lnTo>
                    <a:lnTo>
                      <a:pt x="396" y="619"/>
                    </a:lnTo>
                    <a:lnTo>
                      <a:pt x="396" y="619"/>
                    </a:lnTo>
                    <a:lnTo>
                      <a:pt x="396" y="601"/>
                    </a:lnTo>
                    <a:lnTo>
                      <a:pt x="387" y="593"/>
                    </a:lnTo>
                    <a:lnTo>
                      <a:pt x="387" y="584"/>
                    </a:lnTo>
                    <a:lnTo>
                      <a:pt x="378" y="575"/>
                    </a:lnTo>
                    <a:lnTo>
                      <a:pt x="369" y="566"/>
                    </a:lnTo>
                    <a:lnTo>
                      <a:pt x="360" y="557"/>
                    </a:lnTo>
                    <a:lnTo>
                      <a:pt x="360" y="557"/>
                    </a:lnTo>
                    <a:lnTo>
                      <a:pt x="352" y="557"/>
                    </a:lnTo>
                    <a:lnTo>
                      <a:pt x="352" y="548"/>
                    </a:lnTo>
                    <a:lnTo>
                      <a:pt x="352" y="548"/>
                    </a:lnTo>
                    <a:lnTo>
                      <a:pt x="343" y="548"/>
                    </a:lnTo>
                    <a:lnTo>
                      <a:pt x="343" y="540"/>
                    </a:lnTo>
                    <a:lnTo>
                      <a:pt x="343" y="540"/>
                    </a:lnTo>
                    <a:lnTo>
                      <a:pt x="334" y="531"/>
                    </a:lnTo>
                    <a:lnTo>
                      <a:pt x="334" y="531"/>
                    </a:lnTo>
                    <a:lnTo>
                      <a:pt x="325" y="540"/>
                    </a:lnTo>
                    <a:lnTo>
                      <a:pt x="308" y="531"/>
                    </a:lnTo>
                    <a:lnTo>
                      <a:pt x="308" y="531"/>
                    </a:lnTo>
                    <a:lnTo>
                      <a:pt x="299" y="531"/>
                    </a:lnTo>
                    <a:lnTo>
                      <a:pt x="299" y="531"/>
                    </a:lnTo>
                    <a:lnTo>
                      <a:pt x="290" y="531"/>
                    </a:lnTo>
                    <a:lnTo>
                      <a:pt x="281" y="522"/>
                    </a:lnTo>
                    <a:lnTo>
                      <a:pt x="281" y="522"/>
                    </a:lnTo>
                    <a:lnTo>
                      <a:pt x="272" y="531"/>
                    </a:lnTo>
                    <a:lnTo>
                      <a:pt x="272" y="531"/>
                    </a:lnTo>
                    <a:lnTo>
                      <a:pt x="264" y="531"/>
                    </a:lnTo>
                    <a:lnTo>
                      <a:pt x="264" y="531"/>
                    </a:lnTo>
                    <a:lnTo>
                      <a:pt x="255" y="531"/>
                    </a:lnTo>
                    <a:lnTo>
                      <a:pt x="255" y="540"/>
                    </a:lnTo>
                    <a:lnTo>
                      <a:pt x="246" y="540"/>
                    </a:lnTo>
                    <a:lnTo>
                      <a:pt x="237" y="566"/>
                    </a:lnTo>
                    <a:lnTo>
                      <a:pt x="237" y="566"/>
                    </a:lnTo>
                    <a:lnTo>
                      <a:pt x="237" y="566"/>
                    </a:lnTo>
                    <a:lnTo>
                      <a:pt x="237" y="575"/>
                    </a:lnTo>
                    <a:lnTo>
                      <a:pt x="228" y="575"/>
                    </a:lnTo>
                    <a:lnTo>
                      <a:pt x="228" y="584"/>
                    </a:lnTo>
                    <a:lnTo>
                      <a:pt x="220" y="584"/>
                    </a:lnTo>
                    <a:lnTo>
                      <a:pt x="220" y="593"/>
                    </a:lnTo>
                    <a:lnTo>
                      <a:pt x="211" y="593"/>
                    </a:lnTo>
                    <a:lnTo>
                      <a:pt x="211" y="593"/>
                    </a:lnTo>
                    <a:lnTo>
                      <a:pt x="202" y="584"/>
                    </a:lnTo>
                    <a:lnTo>
                      <a:pt x="202" y="584"/>
                    </a:lnTo>
                    <a:lnTo>
                      <a:pt x="193" y="584"/>
                    </a:lnTo>
                    <a:lnTo>
                      <a:pt x="193" y="575"/>
                    </a:lnTo>
                    <a:lnTo>
                      <a:pt x="176" y="575"/>
                    </a:lnTo>
                    <a:lnTo>
                      <a:pt x="176" y="566"/>
                    </a:lnTo>
                    <a:lnTo>
                      <a:pt x="167" y="566"/>
                    </a:lnTo>
                    <a:lnTo>
                      <a:pt x="158" y="557"/>
                    </a:lnTo>
                    <a:lnTo>
                      <a:pt x="149" y="548"/>
                    </a:lnTo>
                    <a:lnTo>
                      <a:pt x="149" y="548"/>
                    </a:lnTo>
                    <a:lnTo>
                      <a:pt x="140" y="540"/>
                    </a:lnTo>
                    <a:lnTo>
                      <a:pt x="132" y="540"/>
                    </a:lnTo>
                    <a:lnTo>
                      <a:pt x="132" y="531"/>
                    </a:lnTo>
                    <a:lnTo>
                      <a:pt x="114" y="504"/>
                    </a:lnTo>
                    <a:lnTo>
                      <a:pt x="114" y="495"/>
                    </a:lnTo>
                    <a:lnTo>
                      <a:pt x="123" y="495"/>
                    </a:lnTo>
                    <a:lnTo>
                      <a:pt x="123" y="487"/>
                    </a:lnTo>
                    <a:lnTo>
                      <a:pt x="114" y="487"/>
                    </a:lnTo>
                    <a:lnTo>
                      <a:pt x="114" y="469"/>
                    </a:lnTo>
                    <a:lnTo>
                      <a:pt x="105" y="469"/>
                    </a:lnTo>
                    <a:lnTo>
                      <a:pt x="105" y="460"/>
                    </a:lnTo>
                    <a:lnTo>
                      <a:pt x="105" y="460"/>
                    </a:lnTo>
                    <a:lnTo>
                      <a:pt x="105" y="451"/>
                    </a:lnTo>
                    <a:lnTo>
                      <a:pt x="105" y="451"/>
                    </a:lnTo>
                    <a:lnTo>
                      <a:pt x="96" y="442"/>
                    </a:lnTo>
                    <a:lnTo>
                      <a:pt x="88" y="433"/>
                    </a:lnTo>
                    <a:lnTo>
                      <a:pt x="79" y="433"/>
                    </a:lnTo>
                    <a:lnTo>
                      <a:pt x="79" y="433"/>
                    </a:lnTo>
                    <a:lnTo>
                      <a:pt x="70" y="425"/>
                    </a:lnTo>
                    <a:lnTo>
                      <a:pt x="61" y="416"/>
                    </a:lnTo>
                    <a:lnTo>
                      <a:pt x="52" y="407"/>
                    </a:lnTo>
                    <a:lnTo>
                      <a:pt x="44" y="389"/>
                    </a:lnTo>
                    <a:lnTo>
                      <a:pt x="44" y="389"/>
                    </a:lnTo>
                    <a:lnTo>
                      <a:pt x="35" y="380"/>
                    </a:lnTo>
                    <a:lnTo>
                      <a:pt x="26" y="380"/>
                    </a:lnTo>
                    <a:lnTo>
                      <a:pt x="26" y="372"/>
                    </a:lnTo>
                    <a:lnTo>
                      <a:pt x="17" y="363"/>
                    </a:lnTo>
                    <a:lnTo>
                      <a:pt x="17" y="363"/>
                    </a:lnTo>
                    <a:lnTo>
                      <a:pt x="17" y="354"/>
                    </a:lnTo>
                    <a:lnTo>
                      <a:pt x="8" y="354"/>
                    </a:lnTo>
                    <a:lnTo>
                      <a:pt x="8" y="354"/>
                    </a:lnTo>
                    <a:lnTo>
                      <a:pt x="8" y="354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>
                    <a:lumMod val="7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kern="0">
                  <a:solidFill>
                    <a:srgbClr val="262626"/>
                  </a:solidFill>
                  <a:latin typeface="Roboto Condensed"/>
                </a:endParaRPr>
              </a:p>
            </p:txBody>
          </p:sp>
        </p:grpSp>
      </p:grpSp>
      <p:sp>
        <p:nvSpPr>
          <p:cNvPr id="111" name="Rectangle 110"/>
          <p:cNvSpPr/>
          <p:nvPr/>
        </p:nvSpPr>
        <p:spPr>
          <a:xfrm>
            <a:off x="2153578" y="3418465"/>
            <a:ext cx="147637" cy="54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Image result for nas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8521" y="3358889"/>
            <a:ext cx="202475" cy="17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5" name="Rectangle 114"/>
          <p:cNvSpPr/>
          <p:nvPr/>
        </p:nvSpPr>
        <p:spPr>
          <a:xfrm>
            <a:off x="2363168" y="3722857"/>
            <a:ext cx="147637" cy="54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6" name="Picture 4" descr="Image result for nas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8111" y="3663281"/>
            <a:ext cx="202475" cy="17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7" name="Rectangle 116"/>
          <p:cNvSpPr/>
          <p:nvPr/>
        </p:nvSpPr>
        <p:spPr>
          <a:xfrm>
            <a:off x="4088827" y="4445337"/>
            <a:ext cx="147637" cy="54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8" name="Picture 4" descr="Image result for nas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3770" y="4385761"/>
            <a:ext cx="202475" cy="17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9" name="Rectangle 118"/>
          <p:cNvSpPr/>
          <p:nvPr/>
        </p:nvSpPr>
        <p:spPr>
          <a:xfrm>
            <a:off x="4821786" y="3940244"/>
            <a:ext cx="147637" cy="54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0" name="Picture 4" descr="Image result for nas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6729" y="3880668"/>
            <a:ext cx="202475" cy="17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1" name="Rectangle 120"/>
          <p:cNvSpPr/>
          <p:nvPr/>
        </p:nvSpPr>
        <p:spPr>
          <a:xfrm>
            <a:off x="4650419" y="4322575"/>
            <a:ext cx="147637" cy="54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2" name="Picture 4" descr="Image result for nas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362" y="4262999"/>
            <a:ext cx="202475" cy="17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" name="Rectangle 122"/>
          <p:cNvSpPr/>
          <p:nvPr/>
        </p:nvSpPr>
        <p:spPr>
          <a:xfrm>
            <a:off x="5445533" y="4551242"/>
            <a:ext cx="147637" cy="54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4" name="Picture 4" descr="Image result for nas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476" y="4491666"/>
            <a:ext cx="202475" cy="17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5" name="Rectangle 124"/>
          <p:cNvSpPr/>
          <p:nvPr/>
        </p:nvSpPr>
        <p:spPr>
          <a:xfrm>
            <a:off x="5560124" y="3541357"/>
            <a:ext cx="147637" cy="54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6" name="Picture 4" descr="Image result for nas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5067" y="3481781"/>
            <a:ext cx="202475" cy="17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7" name="Rectangle 126"/>
          <p:cNvSpPr/>
          <p:nvPr/>
        </p:nvSpPr>
        <p:spPr>
          <a:xfrm>
            <a:off x="5646789" y="3341953"/>
            <a:ext cx="147637" cy="54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8" name="Picture 4" descr="Image result for nas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1732" y="3282377"/>
            <a:ext cx="202475" cy="17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" name="Rectangle 128"/>
          <p:cNvSpPr/>
          <p:nvPr/>
        </p:nvSpPr>
        <p:spPr>
          <a:xfrm>
            <a:off x="5526473" y="3370732"/>
            <a:ext cx="147637" cy="54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0" name="Picture 4" descr="Image result for nas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1416" y="3311156"/>
            <a:ext cx="202475" cy="17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1" name="Rectangle 130"/>
          <p:cNvSpPr/>
          <p:nvPr/>
        </p:nvSpPr>
        <p:spPr>
          <a:xfrm>
            <a:off x="5075709" y="3245490"/>
            <a:ext cx="147637" cy="549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2" name="Picture 4" descr="Image result for nasa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0652" y="3185914"/>
            <a:ext cx="202475" cy="170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3" name="Straight Connector 132"/>
          <p:cNvCxnSpPr>
            <a:stCxn id="124" idx="3"/>
          </p:cNvCxnSpPr>
          <p:nvPr/>
        </p:nvCxnSpPr>
        <p:spPr>
          <a:xfrm>
            <a:off x="5632951" y="4576979"/>
            <a:ext cx="801165" cy="376073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4" name="Group 133"/>
          <p:cNvGrpSpPr/>
          <p:nvPr/>
        </p:nvGrpSpPr>
        <p:grpSpPr>
          <a:xfrm flipH="1">
            <a:off x="6363187" y="4757998"/>
            <a:ext cx="1276251" cy="949788"/>
            <a:chOff x="1340063" y="1253075"/>
            <a:chExt cx="1667403" cy="658868"/>
          </a:xfrm>
        </p:grpSpPr>
        <p:sp>
          <p:nvSpPr>
            <p:cNvPr id="135" name="TextBox 134"/>
            <p:cNvSpPr txBox="1"/>
            <p:nvPr/>
          </p:nvSpPr>
          <p:spPr>
            <a:xfrm>
              <a:off x="1397640" y="1447200"/>
              <a:ext cx="1609824" cy="4647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Jeff Lamke</a:t>
              </a:r>
            </a:p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ob Stute</a:t>
              </a:r>
            </a:p>
          </p:txBody>
        </p:sp>
        <p:sp>
          <p:nvSpPr>
            <p:cNvPr id="136" name="Rectangle 135"/>
            <p:cNvSpPr/>
            <p:nvPr/>
          </p:nvSpPr>
          <p:spPr>
            <a:xfrm>
              <a:off x="1340063" y="1253075"/>
              <a:ext cx="1667403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 smtClean="0">
                  <a:solidFill>
                    <a:srgbClr val="0000FF"/>
                  </a:solidFill>
                </a:rPr>
                <a:t>KSC</a:t>
              </a:r>
            </a:p>
          </p:txBody>
        </p:sp>
      </p:grpSp>
      <p:cxnSp>
        <p:nvCxnSpPr>
          <p:cNvPr id="144" name="Straight Connector 143"/>
          <p:cNvCxnSpPr/>
          <p:nvPr/>
        </p:nvCxnSpPr>
        <p:spPr>
          <a:xfrm flipH="1">
            <a:off x="3628697" y="4555679"/>
            <a:ext cx="441799" cy="250226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5" name="Group 144"/>
          <p:cNvGrpSpPr/>
          <p:nvPr/>
        </p:nvGrpSpPr>
        <p:grpSpPr>
          <a:xfrm flipH="1">
            <a:off x="2402490" y="4627233"/>
            <a:ext cx="1276251" cy="541450"/>
            <a:chOff x="1340063" y="1253075"/>
            <a:chExt cx="1667403" cy="375604"/>
          </a:xfrm>
        </p:grpSpPr>
        <p:sp>
          <p:nvSpPr>
            <p:cNvPr id="146" name="TextBox 145"/>
            <p:cNvSpPr txBox="1"/>
            <p:nvPr/>
          </p:nvSpPr>
          <p:spPr>
            <a:xfrm>
              <a:off x="1397640" y="1447200"/>
              <a:ext cx="1609824" cy="181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ndy Crisman</a:t>
              </a:r>
            </a:p>
          </p:txBody>
        </p:sp>
        <p:sp>
          <p:nvSpPr>
            <p:cNvPr id="147" name="Rectangle 146"/>
            <p:cNvSpPr/>
            <p:nvPr/>
          </p:nvSpPr>
          <p:spPr>
            <a:xfrm>
              <a:off x="1340063" y="1253075"/>
              <a:ext cx="1667403" cy="256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b="1" dirty="0">
                  <a:solidFill>
                    <a:srgbClr val="0000FF"/>
                  </a:solidFill>
                </a:rPr>
                <a:t>J</a:t>
              </a:r>
              <a:r>
                <a:rPr lang="en-US" b="1" dirty="0" smtClean="0">
                  <a:solidFill>
                    <a:srgbClr val="0000FF"/>
                  </a:solidFill>
                </a:rPr>
                <a:t>SC</a:t>
              </a:r>
            </a:p>
          </p:txBody>
        </p:sp>
      </p:grpSp>
      <p:cxnSp>
        <p:nvCxnSpPr>
          <p:cNvPr id="150" name="Straight Connector 149"/>
          <p:cNvCxnSpPr/>
          <p:nvPr/>
        </p:nvCxnSpPr>
        <p:spPr>
          <a:xfrm flipH="1">
            <a:off x="2101831" y="3828660"/>
            <a:ext cx="261220" cy="345079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1" name="Group 150"/>
          <p:cNvGrpSpPr/>
          <p:nvPr/>
        </p:nvGrpSpPr>
        <p:grpSpPr>
          <a:xfrm flipH="1">
            <a:off x="1071743" y="4088427"/>
            <a:ext cx="1276251" cy="541450"/>
            <a:chOff x="1340063" y="1253075"/>
            <a:chExt cx="1667403" cy="375604"/>
          </a:xfrm>
        </p:grpSpPr>
        <p:sp>
          <p:nvSpPr>
            <p:cNvPr id="152" name="TextBox 151"/>
            <p:cNvSpPr txBox="1"/>
            <p:nvPr/>
          </p:nvSpPr>
          <p:spPr>
            <a:xfrm>
              <a:off x="1397640" y="1447200"/>
              <a:ext cx="1609824" cy="181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Joel Sitz</a:t>
              </a:r>
            </a:p>
          </p:txBody>
        </p:sp>
        <p:sp>
          <p:nvSpPr>
            <p:cNvPr id="153" name="Rectangle 152"/>
            <p:cNvSpPr/>
            <p:nvPr/>
          </p:nvSpPr>
          <p:spPr>
            <a:xfrm>
              <a:off x="1340063" y="1253075"/>
              <a:ext cx="1667403" cy="256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b="1" dirty="0" smtClean="0">
                  <a:solidFill>
                    <a:srgbClr val="0000FF"/>
                  </a:solidFill>
                </a:rPr>
                <a:t>AFRC</a:t>
              </a:r>
            </a:p>
          </p:txBody>
        </p:sp>
      </p:grpSp>
      <p:cxnSp>
        <p:nvCxnSpPr>
          <p:cNvPr id="157" name="Straight Connector 156"/>
          <p:cNvCxnSpPr>
            <a:stCxn id="1028" idx="1"/>
          </p:cNvCxnSpPr>
          <p:nvPr/>
        </p:nvCxnSpPr>
        <p:spPr>
          <a:xfrm flipH="1" flipV="1">
            <a:off x="1631360" y="3222084"/>
            <a:ext cx="507161" cy="222118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8" name="Group 157"/>
          <p:cNvGrpSpPr/>
          <p:nvPr/>
        </p:nvGrpSpPr>
        <p:grpSpPr>
          <a:xfrm flipH="1">
            <a:off x="75711" y="3011674"/>
            <a:ext cx="1597921" cy="1080909"/>
            <a:chOff x="1340063" y="1253075"/>
            <a:chExt cx="1667403" cy="503499"/>
          </a:xfrm>
        </p:grpSpPr>
        <p:sp>
          <p:nvSpPr>
            <p:cNvPr id="159" name="TextBox 158"/>
            <p:cNvSpPr txBox="1"/>
            <p:nvPr/>
          </p:nvSpPr>
          <p:spPr>
            <a:xfrm>
              <a:off x="1343827" y="1366620"/>
              <a:ext cx="1609824" cy="3899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Uyen Tu</a:t>
              </a:r>
            </a:p>
            <a:p>
              <a:pPr algn="r"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Jill Willard</a:t>
              </a:r>
            </a:p>
            <a:p>
              <a:pPr algn="r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(</a:t>
              </a:r>
              <a:r>
                <a:rPr lang="en-US" sz="11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ary </a:t>
              </a: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eagy, retired)</a:t>
              </a: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1340063" y="1253075"/>
              <a:ext cx="1667403" cy="256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b="1" dirty="0" smtClean="0">
                  <a:solidFill>
                    <a:srgbClr val="0000FF"/>
                  </a:solidFill>
                </a:rPr>
                <a:t>ARC</a:t>
              </a:r>
            </a:p>
          </p:txBody>
        </p:sp>
      </p:grpSp>
      <p:cxnSp>
        <p:nvCxnSpPr>
          <p:cNvPr id="164" name="Straight Connector 163"/>
          <p:cNvCxnSpPr>
            <a:stCxn id="132" idx="0"/>
          </p:cNvCxnSpPr>
          <p:nvPr/>
        </p:nvCxnSpPr>
        <p:spPr>
          <a:xfrm flipH="1" flipV="1">
            <a:off x="4947657" y="2308091"/>
            <a:ext cx="214233" cy="877823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5" name="Group 164"/>
          <p:cNvGrpSpPr/>
          <p:nvPr/>
        </p:nvGrpSpPr>
        <p:grpSpPr>
          <a:xfrm flipH="1">
            <a:off x="4775181" y="1965281"/>
            <a:ext cx="1276251" cy="505885"/>
            <a:chOff x="1340063" y="1253075"/>
            <a:chExt cx="1667403" cy="402026"/>
          </a:xfrm>
        </p:grpSpPr>
        <p:sp>
          <p:nvSpPr>
            <p:cNvPr id="166" name="TextBox 165"/>
            <p:cNvSpPr txBox="1"/>
            <p:nvPr/>
          </p:nvSpPr>
          <p:spPr>
            <a:xfrm>
              <a:off x="1379536" y="1447200"/>
              <a:ext cx="1410902" cy="2079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awn Pottinger</a:t>
              </a:r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1340063" y="1253075"/>
              <a:ext cx="1667403" cy="2935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 smtClean="0">
                  <a:solidFill>
                    <a:srgbClr val="0000FF"/>
                  </a:solidFill>
                </a:rPr>
                <a:t>GRC</a:t>
              </a:r>
            </a:p>
          </p:txBody>
        </p:sp>
      </p:grpSp>
      <p:cxnSp>
        <p:nvCxnSpPr>
          <p:cNvPr id="179" name="Straight Connector 178"/>
          <p:cNvCxnSpPr/>
          <p:nvPr/>
        </p:nvCxnSpPr>
        <p:spPr>
          <a:xfrm>
            <a:off x="5685838" y="3650721"/>
            <a:ext cx="174750" cy="219358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0" name="Group 179"/>
          <p:cNvGrpSpPr/>
          <p:nvPr/>
        </p:nvGrpSpPr>
        <p:grpSpPr>
          <a:xfrm flipH="1">
            <a:off x="5814171" y="3768431"/>
            <a:ext cx="1649019" cy="744583"/>
            <a:chOff x="1340063" y="1253075"/>
            <a:chExt cx="1667403" cy="516517"/>
          </a:xfrm>
        </p:grpSpPr>
        <p:sp>
          <p:nvSpPr>
            <p:cNvPr id="181" name="TextBox 180"/>
            <p:cNvSpPr txBox="1"/>
            <p:nvPr/>
          </p:nvSpPr>
          <p:spPr>
            <a:xfrm>
              <a:off x="1397640" y="1447200"/>
              <a:ext cx="1609824" cy="32239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aShonda Jacobs-Terry</a:t>
              </a:r>
            </a:p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Wendy Pennington</a:t>
              </a:r>
            </a:p>
          </p:txBody>
        </p:sp>
        <p:sp>
          <p:nvSpPr>
            <p:cNvPr id="182" name="Rectangle 181"/>
            <p:cNvSpPr/>
            <p:nvPr/>
          </p:nvSpPr>
          <p:spPr>
            <a:xfrm>
              <a:off x="1340063" y="1253075"/>
              <a:ext cx="1667403" cy="256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 smtClean="0">
                  <a:solidFill>
                    <a:srgbClr val="0000FF"/>
                  </a:solidFill>
                </a:rPr>
                <a:t>LaRC</a:t>
              </a:r>
            </a:p>
          </p:txBody>
        </p:sp>
      </p:grpSp>
      <p:cxnSp>
        <p:nvCxnSpPr>
          <p:cNvPr id="184" name="Straight Connector 183"/>
          <p:cNvCxnSpPr>
            <a:stCxn id="130" idx="0"/>
          </p:cNvCxnSpPr>
          <p:nvPr/>
        </p:nvCxnSpPr>
        <p:spPr>
          <a:xfrm flipV="1">
            <a:off x="5612654" y="2276951"/>
            <a:ext cx="1238924" cy="1034205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5" name="Group 184"/>
          <p:cNvGrpSpPr/>
          <p:nvPr/>
        </p:nvGrpSpPr>
        <p:grpSpPr>
          <a:xfrm flipH="1">
            <a:off x="6784614" y="1997111"/>
            <a:ext cx="1818927" cy="1353979"/>
            <a:chOff x="1340063" y="1253075"/>
            <a:chExt cx="1667403" cy="939256"/>
          </a:xfrm>
        </p:grpSpPr>
        <p:sp>
          <p:nvSpPr>
            <p:cNvPr id="186" name="TextBox 185"/>
            <p:cNvSpPr txBox="1"/>
            <p:nvPr/>
          </p:nvSpPr>
          <p:spPr>
            <a:xfrm>
              <a:off x="1397640" y="1447200"/>
              <a:ext cx="1609824" cy="7451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Jaya Bajpayee</a:t>
              </a:r>
            </a:p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Gayk (Tony) Dzhordzhalyan</a:t>
              </a:r>
            </a:p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Barbara Mader</a:t>
              </a:r>
            </a:p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ichard McCarthy</a:t>
              </a:r>
            </a:p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athy Nado</a:t>
              </a:r>
            </a:p>
          </p:txBody>
        </p:sp>
        <p:sp>
          <p:nvSpPr>
            <p:cNvPr id="187" name="Rectangle 186"/>
            <p:cNvSpPr/>
            <p:nvPr/>
          </p:nvSpPr>
          <p:spPr>
            <a:xfrm>
              <a:off x="1340063" y="1253075"/>
              <a:ext cx="1667403" cy="256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 smtClean="0">
                  <a:solidFill>
                    <a:srgbClr val="0000FF"/>
                  </a:solidFill>
                </a:rPr>
                <a:t>HQ</a:t>
              </a:r>
            </a:p>
          </p:txBody>
        </p:sp>
      </p:grpSp>
      <p:cxnSp>
        <p:nvCxnSpPr>
          <p:cNvPr id="194" name="Straight Connector 193"/>
          <p:cNvCxnSpPr>
            <a:endCxn id="197" idx="3"/>
          </p:cNvCxnSpPr>
          <p:nvPr/>
        </p:nvCxnSpPr>
        <p:spPr>
          <a:xfrm>
            <a:off x="5858921" y="3367690"/>
            <a:ext cx="1485677" cy="242685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5" name="Group 194"/>
          <p:cNvGrpSpPr/>
          <p:nvPr/>
        </p:nvGrpSpPr>
        <p:grpSpPr>
          <a:xfrm flipH="1">
            <a:off x="7344598" y="3425708"/>
            <a:ext cx="1506987" cy="1353980"/>
            <a:chOff x="1340063" y="1253075"/>
            <a:chExt cx="1667403" cy="939255"/>
          </a:xfrm>
        </p:grpSpPr>
        <p:sp>
          <p:nvSpPr>
            <p:cNvPr id="196" name="TextBox 195"/>
            <p:cNvSpPr txBox="1"/>
            <p:nvPr/>
          </p:nvSpPr>
          <p:spPr>
            <a:xfrm>
              <a:off x="1397640" y="1447200"/>
              <a:ext cx="1609824" cy="7451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indy Cherrix</a:t>
              </a:r>
            </a:p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ick Nemecek</a:t>
              </a:r>
            </a:p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zanne Sierra</a:t>
              </a:r>
            </a:p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ry Ann Tolodziecki</a:t>
              </a:r>
            </a:p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ndrea Thomas</a:t>
              </a:r>
            </a:p>
          </p:txBody>
        </p:sp>
        <p:sp>
          <p:nvSpPr>
            <p:cNvPr id="197" name="Rectangle 196"/>
            <p:cNvSpPr/>
            <p:nvPr/>
          </p:nvSpPr>
          <p:spPr>
            <a:xfrm>
              <a:off x="1340063" y="1253075"/>
              <a:ext cx="1667403" cy="256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 smtClean="0">
                  <a:solidFill>
                    <a:srgbClr val="0000FF"/>
                  </a:solidFill>
                </a:rPr>
                <a:t>GSFC</a:t>
              </a:r>
            </a:p>
          </p:txBody>
        </p:sp>
      </p:grpSp>
      <p:cxnSp>
        <p:nvCxnSpPr>
          <p:cNvPr id="204" name="Straight Connector 203"/>
          <p:cNvCxnSpPr/>
          <p:nvPr/>
        </p:nvCxnSpPr>
        <p:spPr>
          <a:xfrm flipH="1">
            <a:off x="4534305" y="4455115"/>
            <a:ext cx="146798" cy="236266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5" name="Group 204"/>
          <p:cNvGrpSpPr/>
          <p:nvPr/>
        </p:nvGrpSpPr>
        <p:grpSpPr>
          <a:xfrm flipH="1">
            <a:off x="4145114" y="4626843"/>
            <a:ext cx="1276251" cy="541450"/>
            <a:chOff x="1340063" y="1253075"/>
            <a:chExt cx="1667403" cy="375604"/>
          </a:xfrm>
        </p:grpSpPr>
        <p:sp>
          <p:nvSpPr>
            <p:cNvPr id="206" name="TextBox 205"/>
            <p:cNvSpPr txBox="1"/>
            <p:nvPr/>
          </p:nvSpPr>
          <p:spPr>
            <a:xfrm>
              <a:off x="1397640" y="1447200"/>
              <a:ext cx="1609824" cy="181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rk Chadwick</a:t>
              </a:r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1340063" y="1253075"/>
              <a:ext cx="1667403" cy="256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 smtClean="0">
                  <a:solidFill>
                    <a:srgbClr val="0000FF"/>
                  </a:solidFill>
                </a:rPr>
                <a:t>NSSC</a:t>
              </a:r>
            </a:p>
          </p:txBody>
        </p:sp>
      </p:grpSp>
      <p:cxnSp>
        <p:nvCxnSpPr>
          <p:cNvPr id="210" name="Straight Connector 209"/>
          <p:cNvCxnSpPr/>
          <p:nvPr/>
        </p:nvCxnSpPr>
        <p:spPr>
          <a:xfrm>
            <a:off x="4952433" y="4084073"/>
            <a:ext cx="500270" cy="933517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1" name="Group 210"/>
          <p:cNvGrpSpPr/>
          <p:nvPr/>
        </p:nvGrpSpPr>
        <p:grpSpPr>
          <a:xfrm flipH="1">
            <a:off x="5063512" y="4953052"/>
            <a:ext cx="1276251" cy="541450"/>
            <a:chOff x="1340063" y="1253075"/>
            <a:chExt cx="1667403" cy="375604"/>
          </a:xfrm>
        </p:grpSpPr>
        <p:sp>
          <p:nvSpPr>
            <p:cNvPr id="212" name="TextBox 211"/>
            <p:cNvSpPr txBox="1"/>
            <p:nvPr/>
          </p:nvSpPr>
          <p:spPr>
            <a:xfrm>
              <a:off x="1397640" y="1447200"/>
              <a:ext cx="1609824" cy="1814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>
                <a:spcBef>
                  <a:spcPct val="20000"/>
                </a:spcBef>
                <a:defRPr/>
              </a:pPr>
              <a:r>
                <a:rPr lang="en-US" sz="11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Keith Hefner</a:t>
              </a:r>
            </a:p>
          </p:txBody>
        </p:sp>
        <p:sp>
          <p:nvSpPr>
            <p:cNvPr id="213" name="Rectangle 212"/>
            <p:cNvSpPr/>
            <p:nvPr/>
          </p:nvSpPr>
          <p:spPr>
            <a:xfrm>
              <a:off x="1340063" y="1253075"/>
              <a:ext cx="1667403" cy="2562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 smtClean="0">
                  <a:solidFill>
                    <a:srgbClr val="0000FF"/>
                  </a:solidFill>
                </a:rPr>
                <a:t>MSFC</a:t>
              </a:r>
            </a:p>
          </p:txBody>
        </p:sp>
      </p:grpSp>
      <p:sp>
        <p:nvSpPr>
          <p:cNvPr id="219" name="Title 1"/>
          <p:cNvSpPr txBox="1">
            <a:spLocks/>
          </p:cNvSpPr>
          <p:nvPr/>
        </p:nvSpPr>
        <p:spPr>
          <a:xfrm>
            <a:off x="1" y="4555"/>
            <a:ext cx="9210674" cy="13258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</a:rPr>
              <a:t>BSA Decision 7 Team</a:t>
            </a:r>
            <a:endParaRPr lang="en-US" sz="4000" b="1" dirty="0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9594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>
          <a:xfrm>
            <a:off x="1372810" y="3419475"/>
            <a:ext cx="892930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542535"/>
            <a:ext cx="7886700" cy="3772930"/>
          </a:xfrm>
        </p:spPr>
        <p:txBody>
          <a:bodyPr>
            <a:normAutofit/>
          </a:bodyPr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Project Management</a:t>
            </a:r>
            <a:b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sz="2000" b="1" dirty="0" smtClean="0"/>
              <a:t>“The discipline of initiating, planning, executing, controlling and closing the work of a team to achieve specific goals and meet specific success criteria.”</a:t>
            </a:r>
            <a:br>
              <a:rPr lang="en-US" sz="2000" b="1" dirty="0" smtClean="0"/>
            </a:br>
            <a:r>
              <a:rPr lang="en-US" sz="2000" b="1" dirty="0"/>
              <a:t/>
            </a:r>
            <a:br>
              <a:rPr lang="en-US" sz="2000" b="1" dirty="0"/>
            </a:br>
            <a:r>
              <a:rPr lang="en-US" sz="2000" b="1" dirty="0" smtClean="0"/>
              <a:t/>
            </a:r>
            <a:br>
              <a:rPr lang="en-US" sz="2000" b="1" dirty="0" smtClean="0"/>
            </a:br>
            <a:r>
              <a:rPr lang="en-US" b="1" dirty="0">
                <a:solidFill>
                  <a:schemeClr val="accent5">
                    <a:lumMod val="50000"/>
                  </a:schemeClr>
                </a:solidFill>
              </a:rPr>
              <a:t>for Acquisitions</a:t>
            </a:r>
          </a:p>
        </p:txBody>
      </p:sp>
    </p:spTree>
    <p:extLst>
      <p:ext uri="{BB962C8B-B14F-4D97-AF65-F5344CB8AC3E}">
        <p14:creationId xmlns:p14="http://schemas.microsoft.com/office/powerpoint/2010/main" val="4250610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Bent Arrow 64"/>
          <p:cNvSpPr/>
          <p:nvPr/>
        </p:nvSpPr>
        <p:spPr bwMode="auto">
          <a:xfrm flipV="1">
            <a:off x="4805401" y="3388577"/>
            <a:ext cx="669700" cy="1164713"/>
          </a:xfrm>
          <a:prstGeom prst="bentArrow">
            <a:avLst>
              <a:gd name="adj1" fmla="val 9279"/>
              <a:gd name="adj2" fmla="val 17105"/>
              <a:gd name="adj3" fmla="val 0"/>
              <a:gd name="adj4" fmla="val 57006"/>
            </a:avLst>
          </a:prstGeom>
          <a:solidFill>
            <a:schemeClr val="bg1">
              <a:lumMod val="6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71" name="Group 70"/>
          <p:cNvGrpSpPr/>
          <p:nvPr/>
        </p:nvGrpSpPr>
        <p:grpSpPr>
          <a:xfrm>
            <a:off x="1407301" y="2966011"/>
            <a:ext cx="2952872" cy="1972559"/>
            <a:chOff x="1395840" y="-1007176"/>
            <a:chExt cx="2952872" cy="3360214"/>
          </a:xfrm>
        </p:grpSpPr>
        <p:sp>
          <p:nvSpPr>
            <p:cNvPr id="72" name="Bent Arrow 71"/>
            <p:cNvSpPr/>
            <p:nvPr/>
          </p:nvSpPr>
          <p:spPr bwMode="auto">
            <a:xfrm flipH="1" flipV="1">
              <a:off x="3679012" y="-1007176"/>
              <a:ext cx="669700" cy="2699684"/>
            </a:xfrm>
            <a:prstGeom prst="bentArrow">
              <a:avLst>
                <a:gd name="adj1" fmla="val 9279"/>
                <a:gd name="adj2" fmla="val 17105"/>
                <a:gd name="adj3" fmla="val 0"/>
                <a:gd name="adj4" fmla="val 57006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3" name="Bent Arrow 72"/>
            <p:cNvSpPr/>
            <p:nvPr/>
          </p:nvSpPr>
          <p:spPr bwMode="auto">
            <a:xfrm rot="5400000" flipV="1">
              <a:off x="2085994" y="754968"/>
              <a:ext cx="907916" cy="2288224"/>
            </a:xfrm>
            <a:prstGeom prst="bentArrow">
              <a:avLst>
                <a:gd name="adj1" fmla="val 11036"/>
                <a:gd name="adj2" fmla="val 15672"/>
                <a:gd name="adj3" fmla="val 0"/>
                <a:gd name="adj4" fmla="val 57006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65126"/>
            <a:ext cx="8832273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 smtClean="0">
                <a:solidFill>
                  <a:schemeClr val="accent5">
                    <a:lumMod val="50000"/>
                  </a:schemeClr>
                </a:solidFill>
              </a:rPr>
              <a:t>Project Management for Acquisitions: Tools </a:t>
            </a:r>
            <a:endParaRPr lang="en-US" sz="4000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21731931-2280-D54F-855E-04C8FDB4BEB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68" name="Group 67"/>
          <p:cNvGrpSpPr/>
          <p:nvPr/>
        </p:nvGrpSpPr>
        <p:grpSpPr>
          <a:xfrm>
            <a:off x="4690419" y="2957897"/>
            <a:ext cx="1472708" cy="1961948"/>
            <a:chOff x="4670920" y="-1014859"/>
            <a:chExt cx="1472708" cy="3342140"/>
          </a:xfrm>
        </p:grpSpPr>
        <p:sp>
          <p:nvSpPr>
            <p:cNvPr id="69" name="Bent Arrow 68"/>
            <p:cNvSpPr/>
            <p:nvPr/>
          </p:nvSpPr>
          <p:spPr bwMode="auto">
            <a:xfrm flipV="1">
              <a:off x="4670920" y="-1014859"/>
              <a:ext cx="669700" cy="2943926"/>
            </a:xfrm>
            <a:prstGeom prst="bentArrow">
              <a:avLst>
                <a:gd name="adj1" fmla="val 9279"/>
                <a:gd name="adj2" fmla="val 17105"/>
                <a:gd name="adj3" fmla="val 0"/>
                <a:gd name="adj4" fmla="val 65282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0" name="Bent Arrow 69"/>
            <p:cNvSpPr/>
            <p:nvPr/>
          </p:nvSpPr>
          <p:spPr bwMode="auto">
            <a:xfrm rot="16200000" flipH="1" flipV="1">
              <a:off x="5420257" y="1603910"/>
              <a:ext cx="643466" cy="803276"/>
            </a:xfrm>
            <a:prstGeom prst="bentArrow">
              <a:avLst>
                <a:gd name="adj1" fmla="val 16434"/>
                <a:gd name="adj2" fmla="val 17105"/>
                <a:gd name="adj3" fmla="val 0"/>
                <a:gd name="adj4" fmla="val 57006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3007500" y="2958679"/>
            <a:ext cx="1470451" cy="1961981"/>
            <a:chOff x="2996039" y="-1013526"/>
            <a:chExt cx="1470451" cy="3342195"/>
          </a:xfrm>
        </p:grpSpPr>
        <p:sp>
          <p:nvSpPr>
            <p:cNvPr id="75" name="Bent Arrow 74"/>
            <p:cNvSpPr/>
            <p:nvPr/>
          </p:nvSpPr>
          <p:spPr bwMode="auto">
            <a:xfrm flipH="1" flipV="1">
              <a:off x="3796790" y="-1013526"/>
              <a:ext cx="669700" cy="2956626"/>
            </a:xfrm>
            <a:prstGeom prst="bentArrow">
              <a:avLst>
                <a:gd name="adj1" fmla="val 9279"/>
                <a:gd name="adj2" fmla="val 17105"/>
                <a:gd name="adj3" fmla="val 0"/>
                <a:gd name="adj4" fmla="val 65282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6" name="Bent Arrow 75"/>
            <p:cNvSpPr/>
            <p:nvPr/>
          </p:nvSpPr>
          <p:spPr bwMode="auto">
            <a:xfrm rot="5400000" flipV="1">
              <a:off x="3083360" y="1612715"/>
              <a:ext cx="628633" cy="803276"/>
            </a:xfrm>
            <a:prstGeom prst="bentArrow">
              <a:avLst>
                <a:gd name="adj1" fmla="val 16543"/>
                <a:gd name="adj2" fmla="val 17105"/>
                <a:gd name="adj3" fmla="val 0"/>
                <a:gd name="adj4" fmla="val 57006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1098272" y="4916665"/>
            <a:ext cx="804409" cy="804409"/>
            <a:chOff x="1112938" y="2324100"/>
            <a:chExt cx="804409" cy="804409"/>
          </a:xfrm>
        </p:grpSpPr>
        <p:sp>
          <p:nvSpPr>
            <p:cNvPr id="78" name="Oval 77"/>
            <p:cNvSpPr/>
            <p:nvPr/>
          </p:nvSpPr>
          <p:spPr bwMode="auto">
            <a:xfrm>
              <a:off x="1112938" y="2324100"/>
              <a:ext cx="804409" cy="804409"/>
            </a:xfrm>
            <a:prstGeom prst="ellipse">
              <a:avLst/>
            </a:prstGeom>
            <a:noFill/>
            <a:ln w="285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79" name="Oval 78"/>
            <p:cNvSpPr/>
            <p:nvPr/>
          </p:nvSpPr>
          <p:spPr bwMode="auto">
            <a:xfrm>
              <a:off x="1213489" y="2424651"/>
              <a:ext cx="603307" cy="603307"/>
            </a:xfrm>
            <a:prstGeom prst="ellipse">
              <a:avLst/>
            </a:prstGeom>
            <a:solidFill>
              <a:schemeClr val="accent1"/>
            </a:solidFill>
            <a:ln w="28575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7300130" y="4937283"/>
            <a:ext cx="804409" cy="804409"/>
            <a:chOff x="5495925" y="3067050"/>
            <a:chExt cx="838200" cy="838200"/>
          </a:xfrm>
        </p:grpSpPr>
        <p:sp>
          <p:nvSpPr>
            <p:cNvPr id="84" name="Oval 83"/>
            <p:cNvSpPr/>
            <p:nvPr/>
          </p:nvSpPr>
          <p:spPr bwMode="auto">
            <a:xfrm>
              <a:off x="5495925" y="3067050"/>
              <a:ext cx="838200" cy="838200"/>
            </a:xfrm>
            <a:prstGeom prst="ellipse">
              <a:avLst/>
            </a:prstGeom>
            <a:noFill/>
            <a:ln w="285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5" name="Oval 84"/>
            <p:cNvSpPr/>
            <p:nvPr/>
          </p:nvSpPr>
          <p:spPr bwMode="auto">
            <a:xfrm>
              <a:off x="5600700" y="3171825"/>
              <a:ext cx="628650" cy="62865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28575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2660372" y="4916665"/>
            <a:ext cx="804409" cy="804409"/>
            <a:chOff x="5495925" y="3067050"/>
            <a:chExt cx="838200" cy="838200"/>
          </a:xfrm>
        </p:grpSpPr>
        <p:sp>
          <p:nvSpPr>
            <p:cNvPr id="87" name="Oval 86"/>
            <p:cNvSpPr/>
            <p:nvPr/>
          </p:nvSpPr>
          <p:spPr bwMode="auto">
            <a:xfrm>
              <a:off x="5495925" y="3067050"/>
              <a:ext cx="838200" cy="838200"/>
            </a:xfrm>
            <a:prstGeom prst="ellipse">
              <a:avLst/>
            </a:prstGeom>
            <a:noFill/>
            <a:ln w="285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88" name="Oval 87"/>
            <p:cNvSpPr/>
            <p:nvPr/>
          </p:nvSpPr>
          <p:spPr bwMode="auto">
            <a:xfrm>
              <a:off x="5600700" y="3171825"/>
              <a:ext cx="628650" cy="628650"/>
            </a:xfrm>
            <a:prstGeom prst="ellipse">
              <a:avLst/>
            </a:prstGeom>
            <a:solidFill>
              <a:schemeClr val="accent2"/>
            </a:solidFill>
            <a:ln w="28575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5695478" y="4931002"/>
            <a:ext cx="804409" cy="804409"/>
            <a:chOff x="5495925" y="3067050"/>
            <a:chExt cx="838200" cy="838200"/>
          </a:xfrm>
        </p:grpSpPr>
        <p:sp>
          <p:nvSpPr>
            <p:cNvPr id="90" name="Oval 89"/>
            <p:cNvSpPr/>
            <p:nvPr/>
          </p:nvSpPr>
          <p:spPr bwMode="auto">
            <a:xfrm>
              <a:off x="5495925" y="3067050"/>
              <a:ext cx="838200" cy="838200"/>
            </a:xfrm>
            <a:prstGeom prst="ellipse">
              <a:avLst/>
            </a:prstGeom>
            <a:noFill/>
            <a:ln w="285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1" name="Oval 90"/>
            <p:cNvSpPr/>
            <p:nvPr/>
          </p:nvSpPr>
          <p:spPr bwMode="auto">
            <a:xfrm>
              <a:off x="5600700" y="3171825"/>
              <a:ext cx="628650" cy="628650"/>
            </a:xfrm>
            <a:prstGeom prst="ellipse">
              <a:avLst/>
            </a:prstGeom>
            <a:solidFill>
              <a:schemeClr val="accent6"/>
            </a:solidFill>
            <a:ln w="28575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92" name="TextBox 91"/>
          <p:cNvSpPr txBox="1"/>
          <p:nvPr/>
        </p:nvSpPr>
        <p:spPr>
          <a:xfrm>
            <a:off x="697796" y="5825715"/>
            <a:ext cx="1649930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 defTabSz="914400">
              <a:spcBef>
                <a:spcPct val="20000"/>
              </a:spcBef>
              <a:defRPr/>
            </a:pPr>
            <a:r>
              <a:rPr lang="en-US" sz="1200" b="1" dirty="0" smtClean="0">
                <a:solidFill>
                  <a:schemeClr val="accent1"/>
                </a:solidFill>
              </a:rPr>
              <a:t>INTRODUCTION</a:t>
            </a:r>
            <a:br>
              <a:rPr lang="en-US" sz="1200" b="1" dirty="0" smtClean="0">
                <a:solidFill>
                  <a:schemeClr val="accent1"/>
                </a:solidFill>
              </a:rPr>
            </a:br>
            <a:r>
              <a:rPr lang="en-US" sz="1200" b="1" dirty="0" smtClean="0">
                <a:solidFill>
                  <a:schemeClr val="accent1"/>
                </a:solidFill>
              </a:rPr>
              <a:t>TO PMA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2534099" y="5825715"/>
            <a:ext cx="1126924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 defTabSz="914400">
              <a:spcBef>
                <a:spcPct val="20000"/>
              </a:spcBef>
              <a:defRPr/>
            </a:pPr>
            <a:r>
              <a:rPr lang="en-US" sz="1200" b="1" dirty="0" smtClean="0">
                <a:solidFill>
                  <a:schemeClr val="accent2"/>
                </a:solidFill>
              </a:rPr>
              <a:t>TEAM</a:t>
            </a:r>
            <a:br>
              <a:rPr lang="en-US" sz="1200" b="1" dirty="0" smtClean="0">
                <a:solidFill>
                  <a:schemeClr val="accent2"/>
                </a:solidFill>
              </a:rPr>
            </a:br>
            <a:r>
              <a:rPr lang="en-US" sz="1200" b="1" dirty="0" smtClean="0">
                <a:solidFill>
                  <a:schemeClr val="accent2"/>
                </a:solidFill>
              </a:rPr>
              <a:t>CHARTER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5347714" y="5840052"/>
            <a:ext cx="1499936" cy="52322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 defTabSz="914400">
              <a:spcBef>
                <a:spcPct val="20000"/>
              </a:spcBef>
              <a:defRPr/>
            </a:pPr>
            <a:r>
              <a:rPr lang="en-US" sz="1200" b="1" dirty="0" smtClean="0">
                <a:solidFill>
                  <a:schemeClr val="accent6"/>
                </a:solidFill>
              </a:rPr>
              <a:t>COMMUNICATIONS PLAN</a:t>
            </a:r>
            <a:r>
              <a:rPr lang="en-US" sz="1000" dirty="0" smtClean="0">
                <a:solidFill>
                  <a:schemeClr val="accent6"/>
                </a:solidFill>
              </a:rPr>
              <a:t/>
            </a:r>
            <a:br>
              <a:rPr lang="en-US" sz="1000" dirty="0" smtClean="0">
                <a:solidFill>
                  <a:schemeClr val="accent6"/>
                </a:solidFill>
              </a:rPr>
            </a:br>
            <a:endParaRPr lang="en-US" sz="1000" dirty="0">
              <a:solidFill>
                <a:schemeClr val="accent6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7003276" y="5846333"/>
            <a:ext cx="1363578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 defTabSz="914400">
              <a:spcBef>
                <a:spcPct val="20000"/>
              </a:spcBef>
              <a:defRPr/>
            </a:pPr>
            <a:r>
              <a:rPr lang="en-US" sz="1200" b="1" dirty="0" smtClean="0">
                <a:solidFill>
                  <a:schemeClr val="accent4">
                    <a:lumMod val="75000"/>
                  </a:schemeClr>
                </a:solidFill>
              </a:rPr>
              <a:t>MILESTONE SCHEDULES</a:t>
            </a:r>
            <a:endParaRPr lang="en-US" sz="1000" dirty="0">
              <a:solidFill>
                <a:schemeClr val="accent4">
                  <a:lumMod val="75000"/>
                </a:schemeClr>
              </a:solidFill>
            </a:endParaRPr>
          </a:p>
        </p:txBody>
      </p:sp>
      <p:grpSp>
        <p:nvGrpSpPr>
          <p:cNvPr id="103" name="Group 102"/>
          <p:cNvGrpSpPr/>
          <p:nvPr/>
        </p:nvGrpSpPr>
        <p:grpSpPr>
          <a:xfrm>
            <a:off x="1383052" y="5148295"/>
            <a:ext cx="234849" cy="341149"/>
            <a:chOff x="1397718" y="2555730"/>
            <a:chExt cx="234849" cy="341149"/>
          </a:xfrm>
        </p:grpSpPr>
        <p:sp>
          <p:nvSpPr>
            <p:cNvPr id="104" name="Freeform 140"/>
            <p:cNvSpPr>
              <a:spLocks noEditPoints="1"/>
            </p:cNvSpPr>
            <p:nvPr/>
          </p:nvSpPr>
          <p:spPr bwMode="auto">
            <a:xfrm>
              <a:off x="1397718" y="2555730"/>
              <a:ext cx="234849" cy="247208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0" y="29"/>
                </a:cxn>
                <a:cxn ang="0">
                  <a:pos x="17" y="56"/>
                </a:cxn>
                <a:cxn ang="0">
                  <a:pos x="17" y="59"/>
                </a:cxn>
                <a:cxn ang="0">
                  <a:pos x="20" y="62"/>
                </a:cxn>
                <a:cxn ang="0">
                  <a:pos x="39" y="62"/>
                </a:cxn>
                <a:cxn ang="0">
                  <a:pos x="42" y="59"/>
                </a:cxn>
                <a:cxn ang="0">
                  <a:pos x="42" y="56"/>
                </a:cxn>
                <a:cxn ang="0">
                  <a:pos x="59" y="29"/>
                </a:cxn>
                <a:cxn ang="0">
                  <a:pos x="29" y="0"/>
                </a:cxn>
                <a:cxn ang="0">
                  <a:pos x="38" y="52"/>
                </a:cxn>
                <a:cxn ang="0">
                  <a:pos x="36" y="54"/>
                </a:cxn>
                <a:cxn ang="0">
                  <a:pos x="36" y="57"/>
                </a:cxn>
                <a:cxn ang="0">
                  <a:pos x="22" y="57"/>
                </a:cxn>
                <a:cxn ang="0">
                  <a:pos x="22" y="54"/>
                </a:cxn>
                <a:cxn ang="0">
                  <a:pos x="21" y="52"/>
                </a:cxn>
                <a:cxn ang="0">
                  <a:pos x="5" y="29"/>
                </a:cxn>
                <a:cxn ang="0">
                  <a:pos x="29" y="5"/>
                </a:cxn>
                <a:cxn ang="0">
                  <a:pos x="53" y="29"/>
                </a:cxn>
                <a:cxn ang="0">
                  <a:pos x="38" y="52"/>
                </a:cxn>
              </a:cxnLst>
              <a:rect l="0" t="0" r="r" b="b"/>
              <a:pathLst>
                <a:path w="59" h="62">
                  <a:moveTo>
                    <a:pt x="29" y="0"/>
                  </a:moveTo>
                  <a:cubicBezTo>
                    <a:pt x="13" y="0"/>
                    <a:pt x="0" y="13"/>
                    <a:pt x="0" y="29"/>
                  </a:cubicBezTo>
                  <a:cubicBezTo>
                    <a:pt x="0" y="41"/>
                    <a:pt x="7" y="51"/>
                    <a:pt x="17" y="56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61"/>
                    <a:pt x="18" y="62"/>
                    <a:pt x="20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40" y="62"/>
                    <a:pt x="42" y="61"/>
                    <a:pt x="42" y="59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52" y="51"/>
                    <a:pt x="59" y="41"/>
                    <a:pt x="59" y="29"/>
                  </a:cubicBezTo>
                  <a:cubicBezTo>
                    <a:pt x="59" y="13"/>
                    <a:pt x="45" y="0"/>
                    <a:pt x="29" y="0"/>
                  </a:cubicBezTo>
                  <a:close/>
                  <a:moveTo>
                    <a:pt x="38" y="52"/>
                  </a:moveTo>
                  <a:cubicBezTo>
                    <a:pt x="37" y="52"/>
                    <a:pt x="36" y="53"/>
                    <a:pt x="36" y="54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22" y="57"/>
                    <a:pt x="22" y="57"/>
                    <a:pt x="22" y="57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3"/>
                    <a:pt x="22" y="52"/>
                    <a:pt x="21" y="52"/>
                  </a:cubicBezTo>
                  <a:cubicBezTo>
                    <a:pt x="11" y="48"/>
                    <a:pt x="5" y="39"/>
                    <a:pt x="5" y="29"/>
                  </a:cubicBezTo>
                  <a:cubicBezTo>
                    <a:pt x="5" y="16"/>
                    <a:pt x="16" y="5"/>
                    <a:pt x="29" y="5"/>
                  </a:cubicBezTo>
                  <a:cubicBezTo>
                    <a:pt x="42" y="5"/>
                    <a:pt x="53" y="16"/>
                    <a:pt x="53" y="29"/>
                  </a:cubicBezTo>
                  <a:cubicBezTo>
                    <a:pt x="53" y="39"/>
                    <a:pt x="47" y="48"/>
                    <a:pt x="38" y="52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41"/>
            <p:cNvSpPr>
              <a:spLocks/>
            </p:cNvSpPr>
            <p:nvPr/>
          </p:nvSpPr>
          <p:spPr bwMode="auto">
            <a:xfrm>
              <a:off x="1578181" y="2647198"/>
              <a:ext cx="19777" cy="3955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2" y="1"/>
                </a:cxn>
                <a:cxn ang="0">
                  <a:pos x="1" y="3"/>
                </a:cxn>
                <a:cxn ang="0">
                  <a:pos x="1" y="6"/>
                </a:cxn>
                <a:cxn ang="0">
                  <a:pos x="1" y="8"/>
                </a:cxn>
                <a:cxn ang="0">
                  <a:pos x="2" y="10"/>
                </a:cxn>
                <a:cxn ang="0">
                  <a:pos x="3" y="10"/>
                </a:cxn>
                <a:cxn ang="0">
                  <a:pos x="4" y="9"/>
                </a:cxn>
                <a:cxn ang="0">
                  <a:pos x="5" y="6"/>
                </a:cxn>
                <a:cxn ang="0">
                  <a:pos x="4" y="2"/>
                </a:cxn>
              </a:cxnLst>
              <a:rect l="0" t="0" r="r" b="b"/>
              <a:pathLst>
                <a:path w="5" h="10">
                  <a:moveTo>
                    <a:pt x="4" y="2"/>
                  </a:moveTo>
                  <a:cubicBezTo>
                    <a:pt x="4" y="1"/>
                    <a:pt x="3" y="0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7"/>
                    <a:pt x="1" y="8"/>
                    <a:pt x="1" y="8"/>
                  </a:cubicBezTo>
                  <a:cubicBezTo>
                    <a:pt x="1" y="9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9"/>
                  </a:cubicBezTo>
                  <a:cubicBezTo>
                    <a:pt x="5" y="8"/>
                    <a:pt x="5" y="7"/>
                    <a:pt x="5" y="6"/>
                  </a:cubicBezTo>
                  <a:cubicBezTo>
                    <a:pt x="5" y="5"/>
                    <a:pt x="4" y="3"/>
                    <a:pt x="4" y="2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42"/>
            <p:cNvSpPr>
              <a:spLocks/>
            </p:cNvSpPr>
            <p:nvPr/>
          </p:nvSpPr>
          <p:spPr bwMode="auto">
            <a:xfrm>
              <a:off x="1521322" y="2592812"/>
              <a:ext cx="59330" cy="42026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12" y="10"/>
                </a:cxn>
                <a:cxn ang="0">
                  <a:pos x="13" y="11"/>
                </a:cxn>
                <a:cxn ang="0">
                  <a:pos x="14" y="11"/>
                </a:cxn>
                <a:cxn ang="0">
                  <a:pos x="15" y="8"/>
                </a:cxn>
              </a:cxnLst>
              <a:rect l="0" t="0" r="r" b="b"/>
              <a:pathLst>
                <a:path w="15" h="11">
                  <a:moveTo>
                    <a:pt x="15" y="8"/>
                  </a:moveTo>
                  <a:cubicBezTo>
                    <a:pt x="12" y="4"/>
                    <a:pt x="7" y="1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5"/>
                    <a:pt x="9" y="7"/>
                    <a:pt x="12" y="10"/>
                  </a:cubicBezTo>
                  <a:cubicBezTo>
                    <a:pt x="12" y="11"/>
                    <a:pt x="13" y="11"/>
                    <a:pt x="13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5" y="10"/>
                    <a:pt x="15" y="9"/>
                    <a:pt x="15" y="8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43"/>
            <p:cNvSpPr>
              <a:spLocks/>
            </p:cNvSpPr>
            <p:nvPr/>
          </p:nvSpPr>
          <p:spPr bwMode="auto">
            <a:xfrm>
              <a:off x="1476825" y="2815299"/>
              <a:ext cx="74163" cy="24721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3" y="6"/>
                </a:cxn>
                <a:cxn ang="0">
                  <a:pos x="16" y="6"/>
                </a:cxn>
                <a:cxn ang="0">
                  <a:pos x="18" y="3"/>
                </a:cxn>
                <a:cxn ang="0">
                  <a:pos x="16" y="0"/>
                </a:cxn>
              </a:cxnLst>
              <a:rect l="0" t="0" r="r" b="b"/>
              <a:pathLst>
                <a:path w="18" h="6">
                  <a:moveTo>
                    <a:pt x="1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7" y="6"/>
                    <a:pt x="18" y="4"/>
                    <a:pt x="18" y="3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44"/>
            <p:cNvSpPr>
              <a:spLocks/>
            </p:cNvSpPr>
            <p:nvPr/>
          </p:nvSpPr>
          <p:spPr bwMode="auto">
            <a:xfrm>
              <a:off x="1486713" y="2852380"/>
              <a:ext cx="59330" cy="19777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5"/>
                </a:cxn>
                <a:cxn ang="0">
                  <a:pos x="12" y="5"/>
                </a:cxn>
                <a:cxn ang="0">
                  <a:pos x="15" y="2"/>
                </a:cxn>
                <a:cxn ang="0">
                  <a:pos x="12" y="0"/>
                </a:cxn>
              </a:cxnLst>
              <a:rect l="0" t="0" r="r" b="b"/>
              <a:pathLst>
                <a:path w="15" h="5">
                  <a:moveTo>
                    <a:pt x="1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4" y="5"/>
                    <a:pt x="15" y="4"/>
                    <a:pt x="15" y="2"/>
                  </a:cubicBezTo>
                  <a:cubicBezTo>
                    <a:pt x="15" y="1"/>
                    <a:pt x="14" y="0"/>
                    <a:pt x="12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45"/>
            <p:cNvSpPr>
              <a:spLocks/>
            </p:cNvSpPr>
            <p:nvPr/>
          </p:nvSpPr>
          <p:spPr bwMode="auto">
            <a:xfrm>
              <a:off x="1499074" y="2879574"/>
              <a:ext cx="29665" cy="1730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7" y="4"/>
                </a:cxn>
                <a:cxn ang="0">
                  <a:pos x="8" y="2"/>
                </a:cxn>
                <a:cxn ang="0">
                  <a:pos x="7" y="0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46"/>
            <p:cNvSpPr>
              <a:spLocks/>
            </p:cNvSpPr>
            <p:nvPr/>
          </p:nvSpPr>
          <p:spPr bwMode="auto">
            <a:xfrm>
              <a:off x="1474353" y="2666975"/>
              <a:ext cx="84051" cy="101356"/>
            </a:xfrm>
            <a:custGeom>
              <a:avLst/>
              <a:gdLst/>
              <a:ahLst/>
              <a:cxnLst>
                <a:cxn ang="0">
                  <a:pos x="19" y="1"/>
                </a:cxn>
                <a:cxn ang="0">
                  <a:pos x="17" y="2"/>
                </a:cxn>
                <a:cxn ang="0">
                  <a:pos x="10" y="19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3" y="2"/>
                </a:cxn>
                <a:cxn ang="0">
                  <a:pos x="1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9" y="24"/>
                </a:cxn>
                <a:cxn ang="0">
                  <a:pos x="10" y="25"/>
                </a:cxn>
                <a:cxn ang="0">
                  <a:pos x="10" y="25"/>
                </a:cxn>
                <a:cxn ang="0">
                  <a:pos x="10" y="25"/>
                </a:cxn>
                <a:cxn ang="0">
                  <a:pos x="12" y="24"/>
                </a:cxn>
                <a:cxn ang="0">
                  <a:pos x="20" y="3"/>
                </a:cxn>
                <a:cxn ang="0">
                  <a:pos x="19" y="1"/>
                </a:cxn>
              </a:cxnLst>
              <a:rect l="0" t="0" r="r" b="b"/>
              <a:pathLst>
                <a:path w="21" h="25">
                  <a:moveTo>
                    <a:pt x="19" y="1"/>
                  </a:moveTo>
                  <a:cubicBezTo>
                    <a:pt x="19" y="0"/>
                    <a:pt x="17" y="1"/>
                    <a:pt x="17" y="2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3" y="3"/>
                    <a:pt x="13" y="2"/>
                  </a:cubicBezTo>
                  <a:cubicBezTo>
                    <a:pt x="13" y="1"/>
                    <a:pt x="13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5"/>
                    <a:pt x="9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1" y="25"/>
                    <a:pt x="12" y="25"/>
                    <a:pt x="12" y="24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2"/>
                    <a:pt x="20" y="1"/>
                    <a:pt x="19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3902385" y="2064473"/>
            <a:ext cx="1371600" cy="1371600"/>
            <a:chOff x="1112938" y="2324100"/>
            <a:chExt cx="804409" cy="804409"/>
          </a:xfrm>
        </p:grpSpPr>
        <p:sp>
          <p:nvSpPr>
            <p:cNvPr id="121" name="Oval 120"/>
            <p:cNvSpPr/>
            <p:nvPr/>
          </p:nvSpPr>
          <p:spPr bwMode="auto">
            <a:xfrm>
              <a:off x="1112938" y="2324100"/>
              <a:ext cx="804409" cy="804409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22" name="Oval 121"/>
            <p:cNvSpPr/>
            <p:nvPr/>
          </p:nvSpPr>
          <p:spPr bwMode="auto">
            <a:xfrm>
              <a:off x="1213489" y="2424651"/>
              <a:ext cx="603307" cy="603307"/>
            </a:xfrm>
            <a:prstGeom prst="ellipse">
              <a:avLst/>
            </a:prstGeom>
            <a:solidFill>
              <a:srgbClr val="002060"/>
            </a:solidFill>
            <a:ln w="28575">
              <a:noFill/>
              <a:round/>
              <a:headEnd/>
              <a:tailEnd/>
            </a:ln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6000" b="1" dirty="0" smtClean="0">
                  <a:solidFill>
                    <a:schemeClr val="bg1"/>
                  </a:solidFill>
                </a:rPr>
                <a:t>7</a:t>
              </a:r>
              <a:endParaRPr lang="en-US" b="1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123" name="Rectangle 122"/>
          <p:cNvSpPr/>
          <p:nvPr/>
        </p:nvSpPr>
        <p:spPr>
          <a:xfrm>
            <a:off x="4005825" y="2253941"/>
            <a:ext cx="1164720" cy="38317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cap="small" dirty="0" smtClean="0">
                <a:solidFill>
                  <a:schemeClr val="bg1"/>
                </a:solidFill>
              </a:rPr>
              <a:t>decision</a:t>
            </a:r>
            <a:endParaRPr lang="en-US" sz="1000" b="1" cap="small" dirty="0">
              <a:solidFill>
                <a:schemeClr val="bg1"/>
              </a:solidFill>
            </a:endParaRPr>
          </a:p>
        </p:txBody>
      </p:sp>
      <p:grpSp>
        <p:nvGrpSpPr>
          <p:cNvPr id="131" name="Group 38"/>
          <p:cNvGrpSpPr/>
          <p:nvPr/>
        </p:nvGrpSpPr>
        <p:grpSpPr>
          <a:xfrm>
            <a:off x="2850942" y="5095385"/>
            <a:ext cx="405849" cy="430591"/>
            <a:chOff x="4175125" y="2278063"/>
            <a:chExt cx="260350" cy="276225"/>
          </a:xfrm>
          <a:solidFill>
            <a:schemeClr val="bg1"/>
          </a:solidFill>
        </p:grpSpPr>
        <p:sp>
          <p:nvSpPr>
            <p:cNvPr id="132" name="Freeform 33"/>
            <p:cNvSpPr>
              <a:spLocks/>
            </p:cNvSpPr>
            <p:nvPr/>
          </p:nvSpPr>
          <p:spPr bwMode="auto">
            <a:xfrm>
              <a:off x="4203700" y="2295526"/>
              <a:ext cx="33338" cy="3810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2" y="17"/>
                </a:cxn>
                <a:cxn ang="0">
                  <a:pos x="2" y="16"/>
                </a:cxn>
                <a:cxn ang="0">
                  <a:pos x="1" y="16"/>
                </a:cxn>
                <a:cxn ang="0">
                  <a:pos x="0" y="12"/>
                </a:cxn>
                <a:cxn ang="0">
                  <a:pos x="1" y="11"/>
                </a:cxn>
                <a:cxn ang="0">
                  <a:pos x="1" y="11"/>
                </a:cxn>
                <a:cxn ang="0">
                  <a:pos x="2" y="10"/>
                </a:cxn>
                <a:cxn ang="0">
                  <a:pos x="11" y="0"/>
                </a:cxn>
                <a:cxn ang="0">
                  <a:pos x="21" y="11"/>
                </a:cxn>
                <a:cxn ang="0">
                  <a:pos x="21" y="11"/>
                </a:cxn>
                <a:cxn ang="0">
                  <a:pos x="21" y="11"/>
                </a:cxn>
                <a:cxn ang="0">
                  <a:pos x="22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1" y="25"/>
                </a:cxn>
              </a:cxnLst>
              <a:rect l="0" t="0" r="r" b="b"/>
              <a:pathLst>
                <a:path w="22" h="25">
                  <a:moveTo>
                    <a:pt x="11" y="25"/>
                  </a:moveTo>
                  <a:cubicBezTo>
                    <a:pt x="5" y="25"/>
                    <a:pt x="3" y="19"/>
                    <a:pt x="2" y="17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6"/>
                    <a:pt x="0" y="14"/>
                    <a:pt x="0" y="12"/>
                  </a:cubicBezTo>
                  <a:cubicBezTo>
                    <a:pt x="0" y="12"/>
                    <a:pt x="0" y="12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5"/>
                    <a:pt x="6" y="0"/>
                    <a:pt x="11" y="0"/>
                  </a:cubicBezTo>
                  <a:cubicBezTo>
                    <a:pt x="16" y="0"/>
                    <a:pt x="20" y="5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4"/>
                    <a:pt x="21" y="15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9"/>
                    <a:pt x="17" y="25"/>
                    <a:pt x="11" y="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34"/>
            <p:cNvSpPr>
              <a:spLocks/>
            </p:cNvSpPr>
            <p:nvPr/>
          </p:nvSpPr>
          <p:spPr bwMode="auto">
            <a:xfrm>
              <a:off x="4371975" y="2295526"/>
              <a:ext cx="34925" cy="38100"/>
            </a:xfrm>
            <a:custGeom>
              <a:avLst/>
              <a:gdLst/>
              <a:ahLst/>
              <a:cxnLst>
                <a:cxn ang="0">
                  <a:pos x="12" y="25"/>
                </a:cxn>
                <a:cxn ang="0">
                  <a:pos x="3" y="17"/>
                </a:cxn>
                <a:cxn ang="0">
                  <a:pos x="3" y="16"/>
                </a:cxn>
                <a:cxn ang="0">
                  <a:pos x="2" y="16"/>
                </a:cxn>
                <a:cxn ang="0">
                  <a:pos x="0" y="12"/>
                </a:cxn>
                <a:cxn ang="0">
                  <a:pos x="1" y="11"/>
                </a:cxn>
                <a:cxn ang="0">
                  <a:pos x="2" y="11"/>
                </a:cxn>
                <a:cxn ang="0">
                  <a:pos x="2" y="10"/>
                </a:cxn>
                <a:cxn ang="0">
                  <a:pos x="12" y="0"/>
                </a:cxn>
                <a:cxn ang="0">
                  <a:pos x="21" y="11"/>
                </a:cxn>
                <a:cxn ang="0">
                  <a:pos x="21" y="11"/>
                </a:cxn>
                <a:cxn ang="0">
                  <a:pos x="22" y="11"/>
                </a:cxn>
                <a:cxn ang="0">
                  <a:pos x="23" y="12"/>
                </a:cxn>
                <a:cxn ang="0">
                  <a:pos x="21" y="16"/>
                </a:cxn>
                <a:cxn ang="0">
                  <a:pos x="21" y="16"/>
                </a:cxn>
                <a:cxn ang="0">
                  <a:pos x="20" y="16"/>
                </a:cxn>
                <a:cxn ang="0">
                  <a:pos x="12" y="25"/>
                </a:cxn>
              </a:cxnLst>
              <a:rect l="0" t="0" r="r" b="b"/>
              <a:pathLst>
                <a:path w="23" h="25">
                  <a:moveTo>
                    <a:pt x="12" y="25"/>
                  </a:moveTo>
                  <a:cubicBezTo>
                    <a:pt x="6" y="25"/>
                    <a:pt x="3" y="19"/>
                    <a:pt x="3" y="17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2"/>
                    <a:pt x="1" y="12"/>
                    <a:pt x="1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5"/>
                    <a:pt x="6" y="0"/>
                    <a:pt x="12" y="0"/>
                  </a:cubicBezTo>
                  <a:cubicBezTo>
                    <a:pt x="17" y="0"/>
                    <a:pt x="21" y="5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2"/>
                    <a:pt x="23" y="12"/>
                    <a:pt x="23" y="12"/>
                  </a:cubicBezTo>
                  <a:cubicBezTo>
                    <a:pt x="23" y="14"/>
                    <a:pt x="22" y="15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9"/>
                    <a:pt x="18" y="25"/>
                    <a:pt x="12" y="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35"/>
            <p:cNvSpPr>
              <a:spLocks/>
            </p:cNvSpPr>
            <p:nvPr/>
          </p:nvSpPr>
          <p:spPr bwMode="auto">
            <a:xfrm>
              <a:off x="4183063" y="2339976"/>
              <a:ext cx="69850" cy="141288"/>
            </a:xfrm>
            <a:custGeom>
              <a:avLst/>
              <a:gdLst/>
              <a:ahLst/>
              <a:cxnLst>
                <a:cxn ang="0">
                  <a:pos x="32" y="94"/>
                </a:cxn>
                <a:cxn ang="0">
                  <a:pos x="27" y="89"/>
                </a:cxn>
                <a:cxn ang="0">
                  <a:pos x="27" y="48"/>
                </a:cxn>
                <a:cxn ang="0">
                  <a:pos x="22" y="48"/>
                </a:cxn>
                <a:cxn ang="0">
                  <a:pos x="22" y="89"/>
                </a:cxn>
                <a:cxn ang="0">
                  <a:pos x="17" y="94"/>
                </a:cxn>
                <a:cxn ang="0">
                  <a:pos x="12" y="89"/>
                </a:cxn>
                <a:cxn ang="0">
                  <a:pos x="12" y="45"/>
                </a:cxn>
                <a:cxn ang="0">
                  <a:pos x="12" y="42"/>
                </a:cxn>
                <a:cxn ang="0">
                  <a:pos x="12" y="13"/>
                </a:cxn>
                <a:cxn ang="0">
                  <a:pos x="11" y="13"/>
                </a:cxn>
                <a:cxn ang="0">
                  <a:pos x="11" y="13"/>
                </a:cxn>
                <a:cxn ang="0">
                  <a:pos x="7" y="28"/>
                </a:cxn>
                <a:cxn ang="0">
                  <a:pos x="8" y="44"/>
                </a:cxn>
                <a:cxn ang="0">
                  <a:pos x="7" y="47"/>
                </a:cxn>
                <a:cxn ang="0">
                  <a:pos x="5" y="48"/>
                </a:cxn>
                <a:cxn ang="0">
                  <a:pos x="5" y="48"/>
                </a:cxn>
                <a:cxn ang="0">
                  <a:pos x="2" y="44"/>
                </a:cxn>
                <a:cxn ang="0">
                  <a:pos x="1" y="44"/>
                </a:cxn>
                <a:cxn ang="0">
                  <a:pos x="1" y="28"/>
                </a:cxn>
                <a:cxn ang="0">
                  <a:pos x="7" y="4"/>
                </a:cxn>
                <a:cxn ang="0">
                  <a:pos x="16" y="1"/>
                </a:cxn>
                <a:cxn ang="0">
                  <a:pos x="17" y="0"/>
                </a:cxn>
                <a:cxn ang="0">
                  <a:pos x="21" y="14"/>
                </a:cxn>
                <a:cxn ang="0">
                  <a:pos x="23" y="17"/>
                </a:cxn>
                <a:cxn ang="0">
                  <a:pos x="23" y="13"/>
                </a:cxn>
                <a:cxn ang="0">
                  <a:pos x="24" y="5"/>
                </a:cxn>
                <a:cxn ang="0">
                  <a:pos x="25" y="4"/>
                </a:cxn>
                <a:cxn ang="0">
                  <a:pos x="24" y="2"/>
                </a:cxn>
                <a:cxn ang="0">
                  <a:pos x="25" y="1"/>
                </a:cxn>
                <a:cxn ang="0">
                  <a:pos x="25" y="1"/>
                </a:cxn>
                <a:cxn ang="0">
                  <a:pos x="26" y="2"/>
                </a:cxn>
                <a:cxn ang="0">
                  <a:pos x="25" y="4"/>
                </a:cxn>
                <a:cxn ang="0">
                  <a:pos x="25" y="5"/>
                </a:cxn>
                <a:cxn ang="0">
                  <a:pos x="27" y="13"/>
                </a:cxn>
                <a:cxn ang="0">
                  <a:pos x="27" y="17"/>
                </a:cxn>
                <a:cxn ang="0">
                  <a:pos x="29" y="14"/>
                </a:cxn>
                <a:cxn ang="0">
                  <a:pos x="33" y="0"/>
                </a:cxn>
                <a:cxn ang="0">
                  <a:pos x="34" y="1"/>
                </a:cxn>
                <a:cxn ang="0">
                  <a:pos x="43" y="4"/>
                </a:cxn>
                <a:cxn ang="0">
                  <a:pos x="47" y="13"/>
                </a:cxn>
                <a:cxn ang="0">
                  <a:pos x="43" y="34"/>
                </a:cxn>
                <a:cxn ang="0">
                  <a:pos x="43" y="48"/>
                </a:cxn>
                <a:cxn ang="0">
                  <a:pos x="42" y="44"/>
                </a:cxn>
                <a:cxn ang="0">
                  <a:pos x="42" y="44"/>
                </a:cxn>
                <a:cxn ang="0">
                  <a:pos x="42" y="28"/>
                </a:cxn>
                <a:cxn ang="0">
                  <a:pos x="40" y="13"/>
                </a:cxn>
                <a:cxn ang="0">
                  <a:pos x="38" y="14"/>
                </a:cxn>
                <a:cxn ang="0">
                  <a:pos x="38" y="42"/>
                </a:cxn>
                <a:cxn ang="0">
                  <a:pos x="37" y="44"/>
                </a:cxn>
                <a:cxn ang="0">
                  <a:pos x="37" y="89"/>
                </a:cxn>
                <a:cxn ang="0">
                  <a:pos x="32" y="94"/>
                </a:cxn>
              </a:cxnLst>
              <a:rect l="0" t="0" r="r" b="b"/>
              <a:pathLst>
                <a:path w="47" h="94">
                  <a:moveTo>
                    <a:pt x="32" y="94"/>
                  </a:moveTo>
                  <a:cubicBezTo>
                    <a:pt x="30" y="94"/>
                    <a:pt x="27" y="92"/>
                    <a:pt x="27" y="89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92"/>
                    <a:pt x="20" y="94"/>
                    <a:pt x="17" y="94"/>
                  </a:cubicBezTo>
                  <a:cubicBezTo>
                    <a:pt x="15" y="94"/>
                    <a:pt x="12" y="92"/>
                    <a:pt x="12" y="89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4"/>
                    <a:pt x="12" y="43"/>
                    <a:pt x="12" y="4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9" y="13"/>
                    <a:pt x="7" y="26"/>
                    <a:pt x="7" y="28"/>
                  </a:cubicBezTo>
                  <a:cubicBezTo>
                    <a:pt x="7" y="36"/>
                    <a:pt x="8" y="44"/>
                    <a:pt x="8" y="44"/>
                  </a:cubicBezTo>
                  <a:cubicBezTo>
                    <a:pt x="8" y="46"/>
                    <a:pt x="8" y="46"/>
                    <a:pt x="7" y="47"/>
                  </a:cubicBezTo>
                  <a:cubicBezTo>
                    <a:pt x="7" y="48"/>
                    <a:pt x="6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2" y="48"/>
                    <a:pt x="2" y="47"/>
                    <a:pt x="2" y="44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4"/>
                    <a:pt x="0" y="33"/>
                    <a:pt x="1" y="28"/>
                  </a:cubicBezTo>
                  <a:cubicBezTo>
                    <a:pt x="2" y="9"/>
                    <a:pt x="6" y="5"/>
                    <a:pt x="7" y="4"/>
                  </a:cubicBezTo>
                  <a:cubicBezTo>
                    <a:pt x="8" y="3"/>
                    <a:pt x="11" y="2"/>
                    <a:pt x="16" y="1"/>
                  </a:cubicBezTo>
                  <a:cubicBezTo>
                    <a:pt x="16" y="0"/>
                    <a:pt x="17" y="0"/>
                    <a:pt x="17" y="0"/>
                  </a:cubicBezTo>
                  <a:cubicBezTo>
                    <a:pt x="17" y="3"/>
                    <a:pt x="18" y="8"/>
                    <a:pt x="21" y="14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4" y="9"/>
                    <a:pt x="24" y="5"/>
                    <a:pt x="24" y="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6" y="9"/>
                    <a:pt x="27" y="13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1" y="8"/>
                    <a:pt x="32" y="3"/>
                    <a:pt x="33" y="0"/>
                  </a:cubicBezTo>
                  <a:cubicBezTo>
                    <a:pt x="33" y="0"/>
                    <a:pt x="34" y="0"/>
                    <a:pt x="34" y="1"/>
                  </a:cubicBezTo>
                  <a:cubicBezTo>
                    <a:pt x="38" y="2"/>
                    <a:pt x="41" y="3"/>
                    <a:pt x="43" y="4"/>
                  </a:cubicBezTo>
                  <a:cubicBezTo>
                    <a:pt x="43" y="4"/>
                    <a:pt x="45" y="7"/>
                    <a:pt x="47" y="13"/>
                  </a:cubicBezTo>
                  <a:cubicBezTo>
                    <a:pt x="45" y="19"/>
                    <a:pt x="44" y="26"/>
                    <a:pt x="43" y="34"/>
                  </a:cubicBezTo>
                  <a:cubicBezTo>
                    <a:pt x="43" y="37"/>
                    <a:pt x="43" y="42"/>
                    <a:pt x="43" y="48"/>
                  </a:cubicBezTo>
                  <a:cubicBezTo>
                    <a:pt x="42" y="47"/>
                    <a:pt x="42" y="45"/>
                    <a:pt x="42" y="4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3" y="36"/>
                    <a:pt x="42" y="28"/>
                  </a:cubicBezTo>
                  <a:cubicBezTo>
                    <a:pt x="42" y="26"/>
                    <a:pt x="41" y="16"/>
                    <a:pt x="40" y="13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3"/>
                    <a:pt x="38" y="44"/>
                    <a:pt x="37" y="44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2"/>
                    <a:pt x="35" y="94"/>
                    <a:pt x="32" y="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36"/>
            <p:cNvSpPr>
              <a:spLocks/>
            </p:cNvSpPr>
            <p:nvPr/>
          </p:nvSpPr>
          <p:spPr bwMode="auto">
            <a:xfrm>
              <a:off x="4356100" y="2339976"/>
              <a:ext cx="69850" cy="141288"/>
            </a:xfrm>
            <a:custGeom>
              <a:avLst/>
              <a:gdLst/>
              <a:ahLst/>
              <a:cxnLst>
                <a:cxn ang="0">
                  <a:pos x="29" y="94"/>
                </a:cxn>
                <a:cxn ang="0">
                  <a:pos x="24" y="89"/>
                </a:cxn>
                <a:cxn ang="0">
                  <a:pos x="24" y="48"/>
                </a:cxn>
                <a:cxn ang="0">
                  <a:pos x="19" y="48"/>
                </a:cxn>
                <a:cxn ang="0">
                  <a:pos x="19" y="89"/>
                </a:cxn>
                <a:cxn ang="0">
                  <a:pos x="14" y="94"/>
                </a:cxn>
                <a:cxn ang="0">
                  <a:pos x="9" y="89"/>
                </a:cxn>
                <a:cxn ang="0">
                  <a:pos x="9" y="45"/>
                </a:cxn>
                <a:cxn ang="0">
                  <a:pos x="9" y="42"/>
                </a:cxn>
                <a:cxn ang="0">
                  <a:pos x="9" y="12"/>
                </a:cxn>
                <a:cxn ang="0">
                  <a:pos x="7" y="13"/>
                </a:cxn>
                <a:cxn ang="0">
                  <a:pos x="7" y="13"/>
                </a:cxn>
                <a:cxn ang="0">
                  <a:pos x="4" y="28"/>
                </a:cxn>
                <a:cxn ang="0">
                  <a:pos x="5" y="44"/>
                </a:cxn>
                <a:cxn ang="0">
                  <a:pos x="3" y="48"/>
                </a:cxn>
                <a:cxn ang="0">
                  <a:pos x="3" y="34"/>
                </a:cxn>
                <a:cxn ang="0">
                  <a:pos x="0" y="13"/>
                </a:cxn>
                <a:cxn ang="0">
                  <a:pos x="4" y="4"/>
                </a:cxn>
                <a:cxn ang="0">
                  <a:pos x="12" y="1"/>
                </a:cxn>
                <a:cxn ang="0">
                  <a:pos x="14" y="0"/>
                </a:cxn>
                <a:cxn ang="0">
                  <a:pos x="18" y="14"/>
                </a:cxn>
                <a:cxn ang="0">
                  <a:pos x="19" y="17"/>
                </a:cxn>
                <a:cxn ang="0">
                  <a:pos x="20" y="13"/>
                </a:cxn>
                <a:cxn ang="0">
                  <a:pos x="21" y="5"/>
                </a:cxn>
                <a:cxn ang="0">
                  <a:pos x="21" y="4"/>
                </a:cxn>
                <a:cxn ang="0">
                  <a:pos x="20" y="2"/>
                </a:cxn>
                <a:cxn ang="0">
                  <a:pos x="21" y="1"/>
                </a:cxn>
                <a:cxn ang="0">
                  <a:pos x="22" y="1"/>
                </a:cxn>
                <a:cxn ang="0">
                  <a:pos x="23" y="2"/>
                </a:cxn>
                <a:cxn ang="0">
                  <a:pos x="22" y="4"/>
                </a:cxn>
                <a:cxn ang="0">
                  <a:pos x="22" y="5"/>
                </a:cxn>
                <a:cxn ang="0">
                  <a:pos x="23" y="13"/>
                </a:cxn>
                <a:cxn ang="0">
                  <a:pos x="24" y="17"/>
                </a:cxn>
                <a:cxn ang="0">
                  <a:pos x="25" y="14"/>
                </a:cxn>
                <a:cxn ang="0">
                  <a:pos x="29" y="0"/>
                </a:cxn>
                <a:cxn ang="0">
                  <a:pos x="31" y="1"/>
                </a:cxn>
                <a:cxn ang="0">
                  <a:pos x="40" y="4"/>
                </a:cxn>
                <a:cxn ang="0">
                  <a:pos x="46" y="28"/>
                </a:cxn>
                <a:cxn ang="0">
                  <a:pos x="45" y="44"/>
                </a:cxn>
                <a:cxn ang="0">
                  <a:pos x="45" y="44"/>
                </a:cxn>
                <a:cxn ang="0">
                  <a:pos x="42" y="48"/>
                </a:cxn>
                <a:cxn ang="0">
                  <a:pos x="42" y="48"/>
                </a:cxn>
                <a:cxn ang="0">
                  <a:pos x="38" y="44"/>
                </a:cxn>
                <a:cxn ang="0">
                  <a:pos x="38" y="44"/>
                </a:cxn>
                <a:cxn ang="0">
                  <a:pos x="39" y="28"/>
                </a:cxn>
                <a:cxn ang="0">
                  <a:pos x="36" y="13"/>
                </a:cxn>
                <a:cxn ang="0">
                  <a:pos x="34" y="12"/>
                </a:cxn>
                <a:cxn ang="0">
                  <a:pos x="34" y="42"/>
                </a:cxn>
                <a:cxn ang="0">
                  <a:pos x="34" y="44"/>
                </a:cxn>
                <a:cxn ang="0">
                  <a:pos x="34" y="89"/>
                </a:cxn>
                <a:cxn ang="0">
                  <a:pos x="29" y="94"/>
                </a:cxn>
              </a:cxnLst>
              <a:rect l="0" t="0" r="r" b="b"/>
              <a:pathLst>
                <a:path w="46" h="94">
                  <a:moveTo>
                    <a:pt x="29" y="94"/>
                  </a:moveTo>
                  <a:cubicBezTo>
                    <a:pt x="26" y="94"/>
                    <a:pt x="24" y="92"/>
                    <a:pt x="24" y="89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89"/>
                    <a:pt x="19" y="89"/>
                    <a:pt x="19" y="89"/>
                  </a:cubicBezTo>
                  <a:cubicBezTo>
                    <a:pt x="19" y="92"/>
                    <a:pt x="17" y="94"/>
                    <a:pt x="14" y="94"/>
                  </a:cubicBezTo>
                  <a:cubicBezTo>
                    <a:pt x="11" y="94"/>
                    <a:pt x="9" y="92"/>
                    <a:pt x="9" y="89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4"/>
                    <a:pt x="9" y="43"/>
                    <a:pt x="9" y="4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5" y="14"/>
                    <a:pt x="4" y="26"/>
                    <a:pt x="4" y="28"/>
                  </a:cubicBezTo>
                  <a:cubicBezTo>
                    <a:pt x="4" y="36"/>
                    <a:pt x="5" y="44"/>
                    <a:pt x="5" y="44"/>
                  </a:cubicBezTo>
                  <a:cubicBezTo>
                    <a:pt x="5" y="45"/>
                    <a:pt x="4" y="47"/>
                    <a:pt x="3" y="48"/>
                  </a:cubicBezTo>
                  <a:cubicBezTo>
                    <a:pt x="3" y="43"/>
                    <a:pt x="4" y="38"/>
                    <a:pt x="3" y="34"/>
                  </a:cubicBezTo>
                  <a:cubicBezTo>
                    <a:pt x="3" y="26"/>
                    <a:pt x="1" y="18"/>
                    <a:pt x="0" y="13"/>
                  </a:cubicBezTo>
                  <a:cubicBezTo>
                    <a:pt x="1" y="7"/>
                    <a:pt x="3" y="4"/>
                    <a:pt x="4" y="4"/>
                  </a:cubicBezTo>
                  <a:cubicBezTo>
                    <a:pt x="6" y="3"/>
                    <a:pt x="9" y="2"/>
                    <a:pt x="12" y="1"/>
                  </a:cubicBezTo>
                  <a:cubicBezTo>
                    <a:pt x="13" y="0"/>
                    <a:pt x="13" y="0"/>
                    <a:pt x="14" y="0"/>
                  </a:cubicBezTo>
                  <a:cubicBezTo>
                    <a:pt x="14" y="3"/>
                    <a:pt x="15" y="8"/>
                    <a:pt x="18" y="14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9"/>
                    <a:pt x="21" y="5"/>
                    <a:pt x="21" y="5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3" y="9"/>
                    <a:pt x="23" y="13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8" y="8"/>
                    <a:pt x="29" y="3"/>
                    <a:pt x="29" y="0"/>
                  </a:cubicBezTo>
                  <a:cubicBezTo>
                    <a:pt x="30" y="0"/>
                    <a:pt x="30" y="0"/>
                    <a:pt x="31" y="1"/>
                  </a:cubicBezTo>
                  <a:cubicBezTo>
                    <a:pt x="34" y="2"/>
                    <a:pt x="38" y="3"/>
                    <a:pt x="40" y="4"/>
                  </a:cubicBezTo>
                  <a:cubicBezTo>
                    <a:pt x="40" y="5"/>
                    <a:pt x="44" y="9"/>
                    <a:pt x="46" y="28"/>
                  </a:cubicBezTo>
                  <a:cubicBezTo>
                    <a:pt x="46" y="33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4" y="47"/>
                    <a:pt x="44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39" y="48"/>
                    <a:pt x="38" y="46"/>
                    <a:pt x="38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44"/>
                    <a:pt x="39" y="36"/>
                    <a:pt x="39" y="28"/>
                  </a:cubicBezTo>
                  <a:cubicBezTo>
                    <a:pt x="39" y="26"/>
                    <a:pt x="38" y="14"/>
                    <a:pt x="36" y="13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43"/>
                    <a:pt x="34" y="44"/>
                    <a:pt x="34" y="44"/>
                  </a:cubicBezTo>
                  <a:cubicBezTo>
                    <a:pt x="34" y="89"/>
                    <a:pt x="34" y="89"/>
                    <a:pt x="34" y="89"/>
                  </a:cubicBezTo>
                  <a:cubicBezTo>
                    <a:pt x="34" y="92"/>
                    <a:pt x="32" y="94"/>
                    <a:pt x="29" y="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6" name="Freeform 37"/>
            <p:cNvSpPr>
              <a:spLocks/>
            </p:cNvSpPr>
            <p:nvPr/>
          </p:nvSpPr>
          <p:spPr bwMode="auto">
            <a:xfrm>
              <a:off x="4254500" y="2335213"/>
              <a:ext cx="100013" cy="190500"/>
            </a:xfrm>
            <a:custGeom>
              <a:avLst/>
              <a:gdLst/>
              <a:ahLst/>
              <a:cxnLst>
                <a:cxn ang="0">
                  <a:pos x="23" y="126"/>
                </a:cxn>
                <a:cxn ang="0">
                  <a:pos x="16" y="120"/>
                </a:cxn>
                <a:cxn ang="0">
                  <a:pos x="16" y="60"/>
                </a:cxn>
                <a:cxn ang="0">
                  <a:pos x="15" y="56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14" y="18"/>
                </a:cxn>
                <a:cxn ang="0">
                  <a:pos x="10" y="38"/>
                </a:cxn>
                <a:cxn ang="0">
                  <a:pos x="10" y="60"/>
                </a:cxn>
                <a:cxn ang="0">
                  <a:pos x="9" y="64"/>
                </a:cxn>
                <a:cxn ang="0">
                  <a:pos x="6" y="65"/>
                </a:cxn>
                <a:cxn ang="0">
                  <a:pos x="6" y="65"/>
                </a:cxn>
                <a:cxn ang="0">
                  <a:pos x="1" y="60"/>
                </a:cxn>
                <a:cxn ang="0">
                  <a:pos x="1" y="59"/>
                </a:cxn>
                <a:cxn ang="0">
                  <a:pos x="0" y="38"/>
                </a:cxn>
                <a:cxn ang="0">
                  <a:pos x="9" y="6"/>
                </a:cxn>
                <a:cxn ang="0">
                  <a:pos x="20" y="1"/>
                </a:cxn>
                <a:cxn ang="0">
                  <a:pos x="23" y="0"/>
                </a:cxn>
                <a:cxn ang="0">
                  <a:pos x="28" y="19"/>
                </a:cxn>
                <a:cxn ang="0">
                  <a:pos x="30" y="22"/>
                </a:cxn>
                <a:cxn ang="0">
                  <a:pos x="30" y="18"/>
                </a:cxn>
                <a:cxn ang="0">
                  <a:pos x="32" y="7"/>
                </a:cxn>
                <a:cxn ang="0">
                  <a:pos x="32" y="6"/>
                </a:cxn>
                <a:cxn ang="0">
                  <a:pos x="30" y="3"/>
                </a:cxn>
                <a:cxn ang="0">
                  <a:pos x="32" y="2"/>
                </a:cxn>
                <a:cxn ang="0">
                  <a:pos x="33" y="2"/>
                </a:cxn>
                <a:cxn ang="0">
                  <a:pos x="35" y="3"/>
                </a:cxn>
                <a:cxn ang="0">
                  <a:pos x="33" y="6"/>
                </a:cxn>
                <a:cxn ang="0">
                  <a:pos x="34" y="7"/>
                </a:cxn>
                <a:cxn ang="0">
                  <a:pos x="35" y="18"/>
                </a:cxn>
                <a:cxn ang="0">
                  <a:pos x="36" y="22"/>
                </a:cxn>
                <a:cxn ang="0">
                  <a:pos x="37" y="19"/>
                </a:cxn>
                <a:cxn ang="0">
                  <a:pos x="43" y="0"/>
                </a:cxn>
                <a:cxn ang="0">
                  <a:pos x="45" y="1"/>
                </a:cxn>
                <a:cxn ang="0">
                  <a:pos x="57" y="6"/>
                </a:cxn>
                <a:cxn ang="0">
                  <a:pos x="65" y="38"/>
                </a:cxn>
                <a:cxn ang="0">
                  <a:pos x="64" y="59"/>
                </a:cxn>
                <a:cxn ang="0">
                  <a:pos x="64" y="60"/>
                </a:cxn>
                <a:cxn ang="0">
                  <a:pos x="60" y="65"/>
                </a:cxn>
                <a:cxn ang="0">
                  <a:pos x="60" y="65"/>
                </a:cxn>
                <a:cxn ang="0">
                  <a:pos x="55" y="60"/>
                </a:cxn>
                <a:cxn ang="0">
                  <a:pos x="56" y="38"/>
                </a:cxn>
                <a:cxn ang="0">
                  <a:pos x="52" y="18"/>
                </a:cxn>
                <a:cxn ang="0">
                  <a:pos x="52" y="18"/>
                </a:cxn>
                <a:cxn ang="0">
                  <a:pos x="50" y="17"/>
                </a:cxn>
                <a:cxn ang="0">
                  <a:pos x="50" y="56"/>
                </a:cxn>
                <a:cxn ang="0">
                  <a:pos x="50" y="60"/>
                </a:cxn>
                <a:cxn ang="0">
                  <a:pos x="50" y="120"/>
                </a:cxn>
                <a:cxn ang="0">
                  <a:pos x="43" y="126"/>
                </a:cxn>
                <a:cxn ang="0">
                  <a:pos x="43" y="126"/>
                </a:cxn>
                <a:cxn ang="0">
                  <a:pos x="42" y="126"/>
                </a:cxn>
                <a:cxn ang="0">
                  <a:pos x="36" y="120"/>
                </a:cxn>
                <a:cxn ang="0">
                  <a:pos x="36" y="65"/>
                </a:cxn>
                <a:cxn ang="0">
                  <a:pos x="30" y="65"/>
                </a:cxn>
                <a:cxn ang="0">
                  <a:pos x="30" y="120"/>
                </a:cxn>
                <a:cxn ang="0">
                  <a:pos x="23" y="126"/>
                </a:cxn>
              </a:cxnLst>
              <a:rect l="0" t="0" r="r" b="b"/>
              <a:pathLst>
                <a:path w="66" h="126">
                  <a:moveTo>
                    <a:pt x="23" y="126"/>
                  </a:moveTo>
                  <a:cubicBezTo>
                    <a:pt x="19" y="126"/>
                    <a:pt x="16" y="123"/>
                    <a:pt x="16" y="12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59"/>
                    <a:pt x="15" y="57"/>
                    <a:pt x="15" y="56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2" y="19"/>
                    <a:pt x="10" y="33"/>
                    <a:pt x="10" y="38"/>
                  </a:cubicBezTo>
                  <a:cubicBezTo>
                    <a:pt x="9" y="48"/>
                    <a:pt x="10" y="60"/>
                    <a:pt x="10" y="60"/>
                  </a:cubicBezTo>
                  <a:cubicBezTo>
                    <a:pt x="10" y="61"/>
                    <a:pt x="10" y="63"/>
                    <a:pt x="9" y="64"/>
                  </a:cubicBezTo>
                  <a:cubicBezTo>
                    <a:pt x="9" y="65"/>
                    <a:pt x="7" y="65"/>
                    <a:pt x="6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3" y="65"/>
                    <a:pt x="2" y="63"/>
                    <a:pt x="1" y="60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59"/>
                    <a:pt x="0" y="45"/>
                    <a:pt x="0" y="38"/>
                  </a:cubicBezTo>
                  <a:cubicBezTo>
                    <a:pt x="2" y="14"/>
                    <a:pt x="7" y="7"/>
                    <a:pt x="9" y="6"/>
                  </a:cubicBezTo>
                  <a:cubicBezTo>
                    <a:pt x="11" y="4"/>
                    <a:pt x="16" y="3"/>
                    <a:pt x="20" y="1"/>
                  </a:cubicBezTo>
                  <a:cubicBezTo>
                    <a:pt x="21" y="1"/>
                    <a:pt x="22" y="1"/>
                    <a:pt x="23" y="0"/>
                  </a:cubicBezTo>
                  <a:cubicBezTo>
                    <a:pt x="23" y="4"/>
                    <a:pt x="24" y="11"/>
                    <a:pt x="28" y="19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1" y="13"/>
                    <a:pt x="32" y="7"/>
                    <a:pt x="32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8"/>
                    <a:pt x="35" y="13"/>
                    <a:pt x="35" y="18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41" y="11"/>
                    <a:pt x="42" y="4"/>
                    <a:pt x="43" y="0"/>
                  </a:cubicBezTo>
                  <a:cubicBezTo>
                    <a:pt x="44" y="1"/>
                    <a:pt x="44" y="1"/>
                    <a:pt x="45" y="1"/>
                  </a:cubicBezTo>
                  <a:cubicBezTo>
                    <a:pt x="49" y="3"/>
                    <a:pt x="54" y="4"/>
                    <a:pt x="57" y="6"/>
                  </a:cubicBezTo>
                  <a:cubicBezTo>
                    <a:pt x="58" y="7"/>
                    <a:pt x="63" y="13"/>
                    <a:pt x="65" y="38"/>
                  </a:cubicBezTo>
                  <a:cubicBezTo>
                    <a:pt x="66" y="45"/>
                    <a:pt x="64" y="59"/>
                    <a:pt x="64" y="59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3" y="63"/>
                    <a:pt x="63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55" y="65"/>
                    <a:pt x="55" y="61"/>
                    <a:pt x="55" y="60"/>
                  </a:cubicBezTo>
                  <a:cubicBezTo>
                    <a:pt x="55" y="60"/>
                    <a:pt x="56" y="48"/>
                    <a:pt x="56" y="38"/>
                  </a:cubicBezTo>
                  <a:cubicBezTo>
                    <a:pt x="55" y="34"/>
                    <a:pt x="54" y="20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57"/>
                    <a:pt x="50" y="59"/>
                    <a:pt x="50" y="60"/>
                  </a:cubicBezTo>
                  <a:cubicBezTo>
                    <a:pt x="50" y="120"/>
                    <a:pt x="50" y="120"/>
                    <a:pt x="50" y="120"/>
                  </a:cubicBezTo>
                  <a:cubicBezTo>
                    <a:pt x="50" y="123"/>
                    <a:pt x="47" y="126"/>
                    <a:pt x="43" y="126"/>
                  </a:cubicBezTo>
                  <a:cubicBezTo>
                    <a:pt x="43" y="126"/>
                    <a:pt x="43" y="126"/>
                    <a:pt x="43" y="126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39" y="126"/>
                    <a:pt x="36" y="123"/>
                    <a:pt x="36" y="120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30" y="123"/>
                    <a:pt x="27" y="126"/>
                    <a:pt x="23" y="12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7" name="Freeform 38"/>
            <p:cNvSpPr>
              <a:spLocks/>
            </p:cNvSpPr>
            <p:nvPr/>
          </p:nvSpPr>
          <p:spPr bwMode="auto">
            <a:xfrm>
              <a:off x="4281488" y="2278063"/>
              <a:ext cx="46038" cy="50800"/>
            </a:xfrm>
            <a:custGeom>
              <a:avLst/>
              <a:gdLst/>
              <a:ahLst/>
              <a:cxnLst>
                <a:cxn ang="0">
                  <a:pos x="16" y="34"/>
                </a:cxn>
                <a:cxn ang="0">
                  <a:pos x="4" y="22"/>
                </a:cxn>
                <a:cxn ang="0">
                  <a:pos x="4" y="22"/>
                </a:cxn>
                <a:cxn ang="0">
                  <a:pos x="3" y="21"/>
                </a:cxn>
                <a:cxn ang="0">
                  <a:pos x="1" y="17"/>
                </a:cxn>
                <a:cxn ang="0">
                  <a:pos x="2" y="15"/>
                </a:cxn>
                <a:cxn ang="0">
                  <a:pos x="3" y="15"/>
                </a:cxn>
                <a:cxn ang="0">
                  <a:pos x="3" y="14"/>
                </a:cxn>
                <a:cxn ang="0">
                  <a:pos x="16" y="0"/>
                </a:cxn>
                <a:cxn ang="0">
                  <a:pos x="29" y="14"/>
                </a:cxn>
                <a:cxn ang="0">
                  <a:pos x="29" y="15"/>
                </a:cxn>
                <a:cxn ang="0">
                  <a:pos x="30" y="15"/>
                </a:cxn>
                <a:cxn ang="0">
                  <a:pos x="31" y="17"/>
                </a:cxn>
                <a:cxn ang="0">
                  <a:pos x="29" y="21"/>
                </a:cxn>
                <a:cxn ang="0">
                  <a:pos x="28" y="22"/>
                </a:cxn>
                <a:cxn ang="0">
                  <a:pos x="28" y="22"/>
                </a:cxn>
                <a:cxn ang="0">
                  <a:pos x="16" y="34"/>
                </a:cxn>
              </a:cxnLst>
              <a:rect l="0" t="0" r="r" b="b"/>
              <a:pathLst>
                <a:path w="31" h="34">
                  <a:moveTo>
                    <a:pt x="16" y="34"/>
                  </a:moveTo>
                  <a:cubicBezTo>
                    <a:pt x="8" y="34"/>
                    <a:pt x="5" y="25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1" y="21"/>
                    <a:pt x="0" y="18"/>
                    <a:pt x="1" y="17"/>
                  </a:cubicBezTo>
                  <a:cubicBezTo>
                    <a:pt x="1" y="16"/>
                    <a:pt x="1" y="15"/>
                    <a:pt x="2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6"/>
                    <a:pt x="9" y="0"/>
                    <a:pt x="16" y="0"/>
                  </a:cubicBezTo>
                  <a:cubicBezTo>
                    <a:pt x="23" y="0"/>
                    <a:pt x="28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1" y="16"/>
                    <a:pt x="31" y="17"/>
                  </a:cubicBezTo>
                  <a:cubicBezTo>
                    <a:pt x="31" y="18"/>
                    <a:pt x="30" y="21"/>
                    <a:pt x="29" y="2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7" y="25"/>
                    <a:pt x="24" y="34"/>
                    <a:pt x="16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39"/>
            <p:cNvSpPr>
              <a:spLocks/>
            </p:cNvSpPr>
            <p:nvPr/>
          </p:nvSpPr>
          <p:spPr bwMode="auto">
            <a:xfrm>
              <a:off x="4338638" y="2452688"/>
              <a:ext cx="23813" cy="11113"/>
            </a:xfrm>
            <a:custGeom>
              <a:avLst/>
              <a:gdLst/>
              <a:ahLst/>
              <a:cxnLst>
                <a:cxn ang="0">
                  <a:pos x="8" y="5"/>
                </a:cxn>
                <a:cxn ang="0">
                  <a:pos x="7" y="4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9" y="2"/>
                </a:cxn>
                <a:cxn ang="0">
                  <a:pos x="10" y="2"/>
                </a:cxn>
                <a:cxn ang="0">
                  <a:pos x="10" y="0"/>
                </a:cxn>
                <a:cxn ang="0">
                  <a:pos x="16" y="4"/>
                </a:cxn>
                <a:cxn ang="0">
                  <a:pos x="8" y="7"/>
                </a:cxn>
                <a:cxn ang="0">
                  <a:pos x="8" y="5"/>
                </a:cxn>
              </a:cxnLst>
              <a:rect l="0" t="0" r="r" b="b"/>
              <a:pathLst>
                <a:path w="16" h="7">
                  <a:moveTo>
                    <a:pt x="8" y="5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5" y="4"/>
                    <a:pt x="2" y="4"/>
                    <a:pt x="0" y="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6" y="1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9" name="Freeform 40"/>
            <p:cNvSpPr>
              <a:spLocks/>
            </p:cNvSpPr>
            <p:nvPr/>
          </p:nvSpPr>
          <p:spPr bwMode="auto">
            <a:xfrm>
              <a:off x="4216400" y="2525713"/>
              <a:ext cx="142875" cy="28575"/>
            </a:xfrm>
            <a:custGeom>
              <a:avLst/>
              <a:gdLst/>
              <a:ahLst/>
              <a:cxnLst>
                <a:cxn ang="0">
                  <a:pos x="59" y="19"/>
                </a:cxn>
                <a:cxn ang="0">
                  <a:pos x="22" y="16"/>
                </a:cxn>
                <a:cxn ang="0">
                  <a:pos x="14" y="14"/>
                </a:cxn>
                <a:cxn ang="0">
                  <a:pos x="14" y="14"/>
                </a:cxn>
                <a:cxn ang="0">
                  <a:pos x="9" y="18"/>
                </a:cxn>
                <a:cxn ang="0">
                  <a:pos x="0" y="3"/>
                </a:cxn>
                <a:cxn ang="0">
                  <a:pos x="27" y="0"/>
                </a:cxn>
                <a:cxn ang="0">
                  <a:pos x="23" y="5"/>
                </a:cxn>
                <a:cxn ang="0">
                  <a:pos x="24" y="5"/>
                </a:cxn>
                <a:cxn ang="0">
                  <a:pos x="28" y="6"/>
                </a:cxn>
                <a:cxn ang="0">
                  <a:pos x="59" y="9"/>
                </a:cxn>
                <a:cxn ang="0">
                  <a:pos x="91" y="6"/>
                </a:cxn>
                <a:cxn ang="0">
                  <a:pos x="88" y="14"/>
                </a:cxn>
                <a:cxn ang="0">
                  <a:pos x="95" y="16"/>
                </a:cxn>
                <a:cxn ang="0">
                  <a:pos x="91" y="16"/>
                </a:cxn>
                <a:cxn ang="0">
                  <a:pos x="59" y="19"/>
                </a:cxn>
              </a:cxnLst>
              <a:rect l="0" t="0" r="r" b="b"/>
              <a:pathLst>
                <a:path w="95" h="19">
                  <a:moveTo>
                    <a:pt x="59" y="19"/>
                  </a:moveTo>
                  <a:cubicBezTo>
                    <a:pt x="46" y="19"/>
                    <a:pt x="34" y="18"/>
                    <a:pt x="22" y="16"/>
                  </a:cubicBezTo>
                  <a:cubicBezTo>
                    <a:pt x="20" y="15"/>
                    <a:pt x="17" y="15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6" y="5"/>
                    <a:pt x="27" y="6"/>
                    <a:pt x="28" y="6"/>
                  </a:cubicBezTo>
                  <a:cubicBezTo>
                    <a:pt x="38" y="8"/>
                    <a:pt x="48" y="9"/>
                    <a:pt x="59" y="9"/>
                  </a:cubicBezTo>
                  <a:cubicBezTo>
                    <a:pt x="70" y="9"/>
                    <a:pt x="80" y="8"/>
                    <a:pt x="91" y="6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94" y="16"/>
                    <a:pt x="92" y="16"/>
                    <a:pt x="91" y="16"/>
                  </a:cubicBezTo>
                  <a:cubicBezTo>
                    <a:pt x="81" y="18"/>
                    <a:pt x="70" y="19"/>
                    <a:pt x="59" y="1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0" name="Freeform 41"/>
            <p:cNvSpPr>
              <a:spLocks/>
            </p:cNvSpPr>
            <p:nvPr/>
          </p:nvSpPr>
          <p:spPr bwMode="auto">
            <a:xfrm>
              <a:off x="4175125" y="2474913"/>
              <a:ext cx="38100" cy="61913"/>
            </a:xfrm>
            <a:custGeom>
              <a:avLst/>
              <a:gdLst/>
              <a:ahLst/>
              <a:cxnLst>
                <a:cxn ang="0">
                  <a:pos x="20" y="41"/>
                </a:cxn>
                <a:cxn ang="0">
                  <a:pos x="7" y="33"/>
                </a:cxn>
                <a:cxn ang="0">
                  <a:pos x="2" y="27"/>
                </a:cxn>
                <a:cxn ang="0">
                  <a:pos x="0" y="19"/>
                </a:cxn>
                <a:cxn ang="0">
                  <a:pos x="2" y="10"/>
                </a:cxn>
                <a:cxn ang="0">
                  <a:pos x="10" y="3"/>
                </a:cxn>
                <a:cxn ang="0">
                  <a:pos x="13" y="0"/>
                </a:cxn>
                <a:cxn ang="0">
                  <a:pos x="16" y="7"/>
                </a:cxn>
                <a:cxn ang="0">
                  <a:pos x="15" y="8"/>
                </a:cxn>
                <a:cxn ang="0">
                  <a:pos x="12" y="12"/>
                </a:cxn>
                <a:cxn ang="0">
                  <a:pos x="12" y="15"/>
                </a:cxn>
                <a:cxn ang="0">
                  <a:pos x="13" y="19"/>
                </a:cxn>
                <a:cxn ang="0">
                  <a:pos x="17" y="24"/>
                </a:cxn>
                <a:cxn ang="0">
                  <a:pos x="25" y="30"/>
                </a:cxn>
                <a:cxn ang="0">
                  <a:pos x="17" y="31"/>
                </a:cxn>
                <a:cxn ang="0">
                  <a:pos x="20" y="41"/>
                </a:cxn>
              </a:cxnLst>
              <a:rect l="0" t="0" r="r" b="b"/>
              <a:pathLst>
                <a:path w="25" h="41">
                  <a:moveTo>
                    <a:pt x="20" y="41"/>
                  </a:moveTo>
                  <a:cubicBezTo>
                    <a:pt x="15" y="39"/>
                    <a:pt x="10" y="36"/>
                    <a:pt x="7" y="33"/>
                  </a:cubicBezTo>
                  <a:cubicBezTo>
                    <a:pt x="5" y="31"/>
                    <a:pt x="3" y="29"/>
                    <a:pt x="2" y="27"/>
                  </a:cubicBezTo>
                  <a:cubicBezTo>
                    <a:pt x="0" y="25"/>
                    <a:pt x="0" y="22"/>
                    <a:pt x="0" y="19"/>
                  </a:cubicBezTo>
                  <a:cubicBezTo>
                    <a:pt x="0" y="16"/>
                    <a:pt x="1" y="13"/>
                    <a:pt x="2" y="10"/>
                  </a:cubicBezTo>
                  <a:cubicBezTo>
                    <a:pt x="4" y="7"/>
                    <a:pt x="7" y="5"/>
                    <a:pt x="10" y="3"/>
                  </a:cubicBezTo>
                  <a:cubicBezTo>
                    <a:pt x="11" y="2"/>
                    <a:pt x="12" y="1"/>
                    <a:pt x="13" y="0"/>
                  </a:cubicBezTo>
                  <a:cubicBezTo>
                    <a:pt x="13" y="3"/>
                    <a:pt x="14" y="5"/>
                    <a:pt x="16" y="7"/>
                  </a:cubicBezTo>
                  <a:cubicBezTo>
                    <a:pt x="16" y="7"/>
                    <a:pt x="15" y="8"/>
                    <a:pt x="15" y="8"/>
                  </a:cubicBezTo>
                  <a:cubicBezTo>
                    <a:pt x="14" y="9"/>
                    <a:pt x="13" y="10"/>
                    <a:pt x="12" y="12"/>
                  </a:cubicBezTo>
                  <a:cubicBezTo>
                    <a:pt x="12" y="13"/>
                    <a:pt x="12" y="14"/>
                    <a:pt x="12" y="15"/>
                  </a:cubicBezTo>
                  <a:cubicBezTo>
                    <a:pt x="12" y="17"/>
                    <a:pt x="12" y="18"/>
                    <a:pt x="13" y="19"/>
                  </a:cubicBezTo>
                  <a:cubicBezTo>
                    <a:pt x="14" y="21"/>
                    <a:pt x="15" y="23"/>
                    <a:pt x="17" y="24"/>
                  </a:cubicBezTo>
                  <a:cubicBezTo>
                    <a:pt x="19" y="26"/>
                    <a:pt x="22" y="28"/>
                    <a:pt x="25" y="30"/>
                  </a:cubicBezTo>
                  <a:cubicBezTo>
                    <a:pt x="17" y="31"/>
                    <a:pt x="17" y="31"/>
                    <a:pt x="17" y="31"/>
                  </a:cubicBezTo>
                  <a:lnTo>
                    <a:pt x="20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1" name="Freeform 42"/>
            <p:cNvSpPr>
              <a:spLocks/>
            </p:cNvSpPr>
            <p:nvPr/>
          </p:nvSpPr>
          <p:spPr bwMode="auto">
            <a:xfrm>
              <a:off x="4365625" y="2474913"/>
              <a:ext cx="69850" cy="68263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4" y="29"/>
                </a:cxn>
                <a:cxn ang="0">
                  <a:pos x="12" y="34"/>
                </a:cxn>
                <a:cxn ang="0">
                  <a:pos x="13" y="34"/>
                </a:cxn>
                <a:cxn ang="0">
                  <a:pos x="20" y="30"/>
                </a:cxn>
                <a:cxn ang="0">
                  <a:pos x="30" y="23"/>
                </a:cxn>
                <a:cxn ang="0">
                  <a:pos x="33" y="19"/>
                </a:cxn>
                <a:cxn ang="0">
                  <a:pos x="34" y="15"/>
                </a:cxn>
                <a:cxn ang="0">
                  <a:pos x="33" y="11"/>
                </a:cxn>
                <a:cxn ang="0">
                  <a:pos x="29" y="7"/>
                </a:cxn>
                <a:cxn ang="0">
                  <a:pos x="32" y="0"/>
                </a:cxn>
                <a:cxn ang="0">
                  <a:pos x="38" y="5"/>
                </a:cxn>
                <a:cxn ang="0">
                  <a:pos x="44" y="11"/>
                </a:cxn>
                <a:cxn ang="0">
                  <a:pos x="46" y="19"/>
                </a:cxn>
                <a:cxn ang="0">
                  <a:pos x="43" y="28"/>
                </a:cxn>
                <a:cxn ang="0">
                  <a:pos x="36" y="35"/>
                </a:cxn>
                <a:cxn ang="0">
                  <a:pos x="27" y="41"/>
                </a:cxn>
                <a:cxn ang="0">
                  <a:pos x="25" y="41"/>
                </a:cxn>
                <a:cxn ang="0">
                  <a:pos x="31" y="45"/>
                </a:cxn>
                <a:cxn ang="0">
                  <a:pos x="0" y="43"/>
                </a:cxn>
              </a:cxnLst>
              <a:rect l="0" t="0" r="r" b="b"/>
              <a:pathLst>
                <a:path w="46" h="45">
                  <a:moveTo>
                    <a:pt x="0" y="43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6" y="32"/>
                    <a:pt x="18" y="31"/>
                    <a:pt x="20" y="30"/>
                  </a:cubicBezTo>
                  <a:cubicBezTo>
                    <a:pt x="25" y="28"/>
                    <a:pt x="28" y="25"/>
                    <a:pt x="30" y="23"/>
                  </a:cubicBezTo>
                  <a:cubicBezTo>
                    <a:pt x="31" y="21"/>
                    <a:pt x="32" y="20"/>
                    <a:pt x="33" y="19"/>
                  </a:cubicBezTo>
                  <a:cubicBezTo>
                    <a:pt x="33" y="18"/>
                    <a:pt x="34" y="16"/>
                    <a:pt x="34" y="15"/>
                  </a:cubicBezTo>
                  <a:cubicBezTo>
                    <a:pt x="34" y="14"/>
                    <a:pt x="33" y="13"/>
                    <a:pt x="33" y="11"/>
                  </a:cubicBezTo>
                  <a:cubicBezTo>
                    <a:pt x="32" y="10"/>
                    <a:pt x="31" y="8"/>
                    <a:pt x="29" y="7"/>
                  </a:cubicBezTo>
                  <a:cubicBezTo>
                    <a:pt x="31" y="5"/>
                    <a:pt x="32" y="3"/>
                    <a:pt x="32" y="0"/>
                  </a:cubicBezTo>
                  <a:cubicBezTo>
                    <a:pt x="35" y="2"/>
                    <a:pt x="37" y="3"/>
                    <a:pt x="38" y="5"/>
                  </a:cubicBezTo>
                  <a:cubicBezTo>
                    <a:pt x="41" y="7"/>
                    <a:pt x="42" y="9"/>
                    <a:pt x="44" y="11"/>
                  </a:cubicBezTo>
                  <a:cubicBezTo>
                    <a:pt x="45" y="13"/>
                    <a:pt x="46" y="16"/>
                    <a:pt x="46" y="19"/>
                  </a:cubicBezTo>
                  <a:cubicBezTo>
                    <a:pt x="46" y="22"/>
                    <a:pt x="45" y="25"/>
                    <a:pt x="43" y="28"/>
                  </a:cubicBezTo>
                  <a:cubicBezTo>
                    <a:pt x="41" y="31"/>
                    <a:pt x="39" y="33"/>
                    <a:pt x="36" y="35"/>
                  </a:cubicBezTo>
                  <a:cubicBezTo>
                    <a:pt x="33" y="37"/>
                    <a:pt x="30" y="39"/>
                    <a:pt x="27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31" y="45"/>
                    <a:pt x="31" y="45"/>
                    <a:pt x="31" y="45"/>
                  </a:cubicBezTo>
                  <a:lnTo>
                    <a:pt x="0" y="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2" name="Freeform 43"/>
            <p:cNvSpPr>
              <a:spLocks/>
            </p:cNvSpPr>
            <p:nvPr/>
          </p:nvSpPr>
          <p:spPr bwMode="auto">
            <a:xfrm>
              <a:off x="4246563" y="2452688"/>
              <a:ext cx="25400" cy="12700"/>
            </a:xfrm>
            <a:custGeom>
              <a:avLst/>
              <a:gdLst/>
              <a:ahLst/>
              <a:cxnLst>
                <a:cxn ang="0">
                  <a:pos x="8" y="5"/>
                </a:cxn>
                <a:cxn ang="0">
                  <a:pos x="7" y="5"/>
                </a:cxn>
                <a:cxn ang="0">
                  <a:pos x="4" y="5"/>
                </a:cxn>
                <a:cxn ang="0">
                  <a:pos x="0" y="6"/>
                </a:cxn>
                <a:cxn ang="0">
                  <a:pos x="0" y="3"/>
                </a:cxn>
                <a:cxn ang="0">
                  <a:pos x="4" y="2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17" y="2"/>
                </a:cxn>
                <a:cxn ang="0">
                  <a:pos x="11" y="8"/>
                </a:cxn>
                <a:cxn ang="0">
                  <a:pos x="8" y="5"/>
                </a:cxn>
              </a:cxnLst>
              <a:rect l="0" t="0" r="r" b="b"/>
              <a:pathLst>
                <a:path w="17" h="8">
                  <a:moveTo>
                    <a:pt x="8" y="5"/>
                  </a:moveTo>
                  <a:cubicBezTo>
                    <a:pt x="7" y="5"/>
                    <a:pt x="7" y="5"/>
                    <a:pt x="7" y="5"/>
                  </a:cubicBezTo>
                  <a:cubicBezTo>
                    <a:pt x="6" y="5"/>
                    <a:pt x="5" y="5"/>
                    <a:pt x="4" y="5"/>
                  </a:cubicBezTo>
                  <a:cubicBezTo>
                    <a:pt x="2" y="6"/>
                    <a:pt x="1" y="6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2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8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44" name="Freeform 69"/>
          <p:cNvSpPr>
            <a:spLocks noEditPoints="1"/>
          </p:cNvSpPr>
          <p:nvPr/>
        </p:nvSpPr>
        <p:spPr bwMode="auto">
          <a:xfrm>
            <a:off x="7522054" y="5154361"/>
            <a:ext cx="377977" cy="381000"/>
          </a:xfrm>
          <a:custGeom>
            <a:avLst/>
            <a:gdLst/>
            <a:ahLst/>
            <a:cxnLst>
              <a:cxn ang="0">
                <a:pos x="29" y="58"/>
              </a:cxn>
              <a:cxn ang="0">
                <a:pos x="6" y="47"/>
              </a:cxn>
              <a:cxn ang="0">
                <a:pos x="7" y="46"/>
              </a:cxn>
              <a:cxn ang="0">
                <a:pos x="12" y="40"/>
              </a:cxn>
              <a:cxn ang="0">
                <a:pos x="13" y="40"/>
              </a:cxn>
              <a:cxn ang="0">
                <a:pos x="14" y="41"/>
              </a:cxn>
              <a:cxn ang="0">
                <a:pos x="29" y="48"/>
              </a:cxn>
              <a:cxn ang="0">
                <a:pos x="48" y="29"/>
              </a:cxn>
              <a:cxn ang="0">
                <a:pos x="29" y="9"/>
              </a:cxn>
              <a:cxn ang="0">
                <a:pos x="16" y="14"/>
              </a:cxn>
              <a:cxn ang="0">
                <a:pos x="21" y="20"/>
              </a:cxn>
              <a:cxn ang="0">
                <a:pos x="21" y="22"/>
              </a:cxn>
              <a:cxn ang="0">
                <a:pos x="19" y="24"/>
              </a:cxn>
              <a:cxn ang="0">
                <a:pos x="2" y="24"/>
              </a:cxn>
              <a:cxn ang="0">
                <a:pos x="0" y="21"/>
              </a:cxn>
              <a:cxn ang="0">
                <a:pos x="0" y="4"/>
              </a:cxn>
              <a:cxn ang="0">
                <a:pos x="1" y="2"/>
              </a:cxn>
              <a:cxn ang="0">
                <a:pos x="4" y="3"/>
              </a:cxn>
              <a:cxn ang="0">
                <a:pos x="9" y="8"/>
              </a:cxn>
              <a:cxn ang="0">
                <a:pos x="29" y="0"/>
              </a:cxn>
              <a:cxn ang="0">
                <a:pos x="58" y="29"/>
              </a:cxn>
              <a:cxn ang="0">
                <a:pos x="29" y="58"/>
              </a:cxn>
              <a:cxn ang="0">
                <a:pos x="34" y="35"/>
              </a:cxn>
              <a:cxn ang="0">
                <a:pos x="33" y="36"/>
              </a:cxn>
              <a:cxn ang="0">
                <a:pos x="20" y="36"/>
              </a:cxn>
              <a:cxn ang="0">
                <a:pos x="19" y="35"/>
              </a:cxn>
              <a:cxn ang="0">
                <a:pos x="19" y="32"/>
              </a:cxn>
              <a:cxn ang="0">
                <a:pos x="20" y="31"/>
              </a:cxn>
              <a:cxn ang="0">
                <a:pos x="29" y="31"/>
              </a:cxn>
              <a:cxn ang="0">
                <a:pos x="29" y="18"/>
              </a:cxn>
              <a:cxn ang="0">
                <a:pos x="30" y="17"/>
              </a:cxn>
              <a:cxn ang="0">
                <a:pos x="33" y="17"/>
              </a:cxn>
              <a:cxn ang="0">
                <a:pos x="34" y="18"/>
              </a:cxn>
              <a:cxn ang="0">
                <a:pos x="34" y="35"/>
              </a:cxn>
            </a:cxnLst>
            <a:rect l="0" t="0" r="r" b="b"/>
            <a:pathLst>
              <a:path w="58" h="58">
                <a:moveTo>
                  <a:pt x="29" y="58"/>
                </a:moveTo>
                <a:cubicBezTo>
                  <a:pt x="20" y="58"/>
                  <a:pt x="12" y="54"/>
                  <a:pt x="6" y="47"/>
                </a:cubicBezTo>
                <a:cubicBezTo>
                  <a:pt x="6" y="47"/>
                  <a:pt x="6" y="46"/>
                  <a:pt x="7" y="46"/>
                </a:cubicBezTo>
                <a:cubicBezTo>
                  <a:pt x="12" y="40"/>
                  <a:pt x="12" y="40"/>
                  <a:pt x="12" y="40"/>
                </a:cubicBezTo>
                <a:cubicBezTo>
                  <a:pt x="12" y="40"/>
                  <a:pt x="12" y="40"/>
                  <a:pt x="13" y="40"/>
                </a:cubicBezTo>
                <a:cubicBezTo>
                  <a:pt x="13" y="40"/>
                  <a:pt x="13" y="40"/>
                  <a:pt x="14" y="41"/>
                </a:cubicBezTo>
                <a:cubicBezTo>
                  <a:pt x="17" y="45"/>
                  <a:pt x="23" y="48"/>
                  <a:pt x="29" y="48"/>
                </a:cubicBezTo>
                <a:cubicBezTo>
                  <a:pt x="40" y="48"/>
                  <a:pt x="48" y="39"/>
                  <a:pt x="48" y="29"/>
                </a:cubicBezTo>
                <a:cubicBezTo>
                  <a:pt x="48" y="18"/>
                  <a:pt x="40" y="9"/>
                  <a:pt x="29" y="9"/>
                </a:cubicBezTo>
                <a:cubicBezTo>
                  <a:pt x="24" y="9"/>
                  <a:pt x="19" y="11"/>
                  <a:pt x="16" y="14"/>
                </a:cubicBezTo>
                <a:cubicBezTo>
                  <a:pt x="21" y="20"/>
                  <a:pt x="21" y="20"/>
                  <a:pt x="21" y="20"/>
                </a:cubicBezTo>
                <a:cubicBezTo>
                  <a:pt x="22" y="20"/>
                  <a:pt x="22" y="21"/>
                  <a:pt x="21" y="22"/>
                </a:cubicBezTo>
                <a:cubicBezTo>
                  <a:pt x="21" y="23"/>
                  <a:pt x="20" y="24"/>
                  <a:pt x="19" y="24"/>
                </a:cubicBezTo>
                <a:cubicBezTo>
                  <a:pt x="2" y="24"/>
                  <a:pt x="2" y="24"/>
                  <a:pt x="2" y="24"/>
                </a:cubicBezTo>
                <a:cubicBezTo>
                  <a:pt x="1" y="24"/>
                  <a:pt x="0" y="23"/>
                  <a:pt x="0" y="21"/>
                </a:cubicBezTo>
                <a:cubicBezTo>
                  <a:pt x="0" y="4"/>
                  <a:pt x="0" y="4"/>
                  <a:pt x="0" y="4"/>
                </a:cubicBezTo>
                <a:cubicBezTo>
                  <a:pt x="0" y="3"/>
                  <a:pt x="0" y="3"/>
                  <a:pt x="1" y="2"/>
                </a:cubicBezTo>
                <a:cubicBezTo>
                  <a:pt x="2" y="2"/>
                  <a:pt x="3" y="2"/>
                  <a:pt x="4" y="3"/>
                </a:cubicBezTo>
                <a:cubicBezTo>
                  <a:pt x="9" y="8"/>
                  <a:pt x="9" y="8"/>
                  <a:pt x="9" y="8"/>
                </a:cubicBezTo>
                <a:cubicBezTo>
                  <a:pt x="14" y="3"/>
                  <a:pt x="21" y="0"/>
                  <a:pt x="29" y="0"/>
                </a:cubicBezTo>
                <a:cubicBezTo>
                  <a:pt x="45" y="0"/>
                  <a:pt x="58" y="13"/>
                  <a:pt x="58" y="29"/>
                </a:cubicBezTo>
                <a:cubicBezTo>
                  <a:pt x="58" y="45"/>
                  <a:pt x="45" y="58"/>
                  <a:pt x="29" y="58"/>
                </a:cubicBezTo>
                <a:close/>
                <a:moveTo>
                  <a:pt x="34" y="35"/>
                </a:moveTo>
                <a:cubicBezTo>
                  <a:pt x="34" y="35"/>
                  <a:pt x="33" y="36"/>
                  <a:pt x="33" y="36"/>
                </a:cubicBezTo>
                <a:cubicBezTo>
                  <a:pt x="20" y="36"/>
                  <a:pt x="20" y="36"/>
                  <a:pt x="20" y="36"/>
                </a:cubicBezTo>
                <a:cubicBezTo>
                  <a:pt x="20" y="36"/>
                  <a:pt x="19" y="35"/>
                  <a:pt x="19" y="35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20" y="31"/>
                  <a:pt x="20" y="31"/>
                </a:cubicBezTo>
                <a:cubicBezTo>
                  <a:pt x="29" y="31"/>
                  <a:pt x="29" y="31"/>
                  <a:pt x="29" y="31"/>
                </a:cubicBezTo>
                <a:cubicBezTo>
                  <a:pt x="29" y="18"/>
                  <a:pt x="29" y="18"/>
                  <a:pt x="29" y="18"/>
                </a:cubicBezTo>
                <a:cubicBezTo>
                  <a:pt x="29" y="17"/>
                  <a:pt x="29" y="17"/>
                  <a:pt x="30" y="17"/>
                </a:cubicBezTo>
                <a:cubicBezTo>
                  <a:pt x="33" y="17"/>
                  <a:pt x="33" y="17"/>
                  <a:pt x="33" y="17"/>
                </a:cubicBezTo>
                <a:cubicBezTo>
                  <a:pt x="33" y="17"/>
                  <a:pt x="34" y="17"/>
                  <a:pt x="34" y="18"/>
                </a:cubicBezTo>
                <a:lnTo>
                  <a:pt x="34" y="35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Roboto Condensed"/>
            </a:endParaRPr>
          </a:p>
        </p:txBody>
      </p:sp>
      <p:sp>
        <p:nvSpPr>
          <p:cNvPr id="147" name="Freeform 60"/>
          <p:cNvSpPr>
            <a:spLocks noChangeAspect="1" noEditPoints="1"/>
          </p:cNvSpPr>
          <p:nvPr/>
        </p:nvSpPr>
        <p:spPr bwMode="auto">
          <a:xfrm>
            <a:off x="5886985" y="5163457"/>
            <a:ext cx="420625" cy="335280"/>
          </a:xfrm>
          <a:custGeom>
            <a:avLst/>
            <a:gdLst/>
            <a:ahLst/>
            <a:cxnLst>
              <a:cxn ang="0">
                <a:pos x="50" y="19"/>
              </a:cxn>
              <a:cxn ang="0">
                <a:pos x="25" y="37"/>
              </a:cxn>
              <a:cxn ang="0">
                <a:pos x="19" y="36"/>
              </a:cxn>
              <a:cxn ang="0">
                <a:pos x="9" y="41"/>
              </a:cxn>
              <a:cxn ang="0">
                <a:pos x="6" y="42"/>
              </a:cxn>
              <a:cxn ang="0">
                <a:pos x="6" y="42"/>
              </a:cxn>
              <a:cxn ang="0">
                <a:pos x="4" y="41"/>
              </a:cxn>
              <a:cxn ang="0">
                <a:pos x="5" y="39"/>
              </a:cxn>
              <a:cxn ang="0">
                <a:pos x="9" y="33"/>
              </a:cxn>
              <a:cxn ang="0">
                <a:pos x="0" y="19"/>
              </a:cxn>
              <a:cxn ang="0">
                <a:pos x="25" y="0"/>
              </a:cxn>
              <a:cxn ang="0">
                <a:pos x="50" y="19"/>
              </a:cxn>
              <a:cxn ang="0">
                <a:pos x="4" y="19"/>
              </a:cxn>
              <a:cxn ang="0">
                <a:pos x="12" y="29"/>
              </a:cxn>
              <a:cxn ang="0">
                <a:pos x="15" y="31"/>
              </a:cxn>
              <a:cxn ang="0">
                <a:pos x="14" y="34"/>
              </a:cxn>
              <a:cxn ang="0">
                <a:pos x="16" y="33"/>
              </a:cxn>
              <a:cxn ang="0">
                <a:pos x="18" y="32"/>
              </a:cxn>
              <a:cxn ang="0">
                <a:pos x="19" y="32"/>
              </a:cxn>
              <a:cxn ang="0">
                <a:pos x="25" y="32"/>
              </a:cxn>
              <a:cxn ang="0">
                <a:pos x="45" y="19"/>
              </a:cxn>
              <a:cxn ang="0">
                <a:pos x="25" y="5"/>
              </a:cxn>
              <a:cxn ang="0">
                <a:pos x="4" y="19"/>
              </a:cxn>
              <a:cxn ang="0">
                <a:pos x="58" y="48"/>
              </a:cxn>
              <a:cxn ang="0">
                <a:pos x="59" y="50"/>
              </a:cxn>
              <a:cxn ang="0">
                <a:pos x="58" y="51"/>
              </a:cxn>
              <a:cxn ang="0">
                <a:pos x="55" y="50"/>
              </a:cxn>
              <a:cxn ang="0">
                <a:pos x="45" y="46"/>
              </a:cxn>
              <a:cxn ang="0">
                <a:pos x="39" y="46"/>
              </a:cxn>
              <a:cxn ang="0">
                <a:pos x="22" y="41"/>
              </a:cxn>
              <a:cxn ang="0">
                <a:pos x="25" y="42"/>
              </a:cxn>
              <a:cxn ang="0">
                <a:pos x="45" y="35"/>
              </a:cxn>
              <a:cxn ang="0">
                <a:pos x="55" y="19"/>
              </a:cxn>
              <a:cxn ang="0">
                <a:pos x="54" y="13"/>
              </a:cxn>
              <a:cxn ang="0">
                <a:pos x="64" y="28"/>
              </a:cxn>
              <a:cxn ang="0">
                <a:pos x="54" y="42"/>
              </a:cxn>
              <a:cxn ang="0">
                <a:pos x="58" y="48"/>
              </a:cxn>
            </a:cxnLst>
            <a:rect l="0" t="0" r="r" b="b"/>
            <a:pathLst>
              <a:path w="64" h="51">
                <a:moveTo>
                  <a:pt x="50" y="19"/>
                </a:moveTo>
                <a:cubicBezTo>
                  <a:pt x="50" y="29"/>
                  <a:pt x="39" y="37"/>
                  <a:pt x="25" y="37"/>
                </a:cubicBezTo>
                <a:cubicBezTo>
                  <a:pt x="23" y="37"/>
                  <a:pt x="21" y="37"/>
                  <a:pt x="19" y="36"/>
                </a:cubicBezTo>
                <a:cubicBezTo>
                  <a:pt x="16" y="39"/>
                  <a:pt x="12" y="40"/>
                  <a:pt x="9" y="41"/>
                </a:cubicBezTo>
                <a:cubicBezTo>
                  <a:pt x="8" y="41"/>
                  <a:pt x="7" y="41"/>
                  <a:pt x="6" y="42"/>
                </a:cubicBezTo>
                <a:cubicBezTo>
                  <a:pt x="6" y="42"/>
                  <a:pt x="6" y="42"/>
                  <a:pt x="6" y="42"/>
                </a:cubicBezTo>
                <a:cubicBezTo>
                  <a:pt x="5" y="42"/>
                  <a:pt x="4" y="41"/>
                  <a:pt x="4" y="41"/>
                </a:cubicBezTo>
                <a:cubicBezTo>
                  <a:pt x="4" y="40"/>
                  <a:pt x="5" y="39"/>
                  <a:pt x="5" y="39"/>
                </a:cubicBezTo>
                <a:cubicBezTo>
                  <a:pt x="6" y="37"/>
                  <a:pt x="8" y="36"/>
                  <a:pt x="9" y="33"/>
                </a:cubicBezTo>
                <a:cubicBezTo>
                  <a:pt x="3" y="30"/>
                  <a:pt x="0" y="25"/>
                  <a:pt x="0" y="19"/>
                </a:cubicBezTo>
                <a:cubicBezTo>
                  <a:pt x="0" y="9"/>
                  <a:pt x="11" y="0"/>
                  <a:pt x="25" y="0"/>
                </a:cubicBezTo>
                <a:cubicBezTo>
                  <a:pt x="39" y="0"/>
                  <a:pt x="50" y="9"/>
                  <a:pt x="50" y="19"/>
                </a:cubicBezTo>
                <a:close/>
                <a:moveTo>
                  <a:pt x="4" y="19"/>
                </a:moveTo>
                <a:cubicBezTo>
                  <a:pt x="4" y="23"/>
                  <a:pt x="7" y="26"/>
                  <a:pt x="12" y="29"/>
                </a:cubicBezTo>
                <a:cubicBezTo>
                  <a:pt x="15" y="31"/>
                  <a:pt x="15" y="31"/>
                  <a:pt x="15" y="31"/>
                </a:cubicBezTo>
                <a:cubicBezTo>
                  <a:pt x="14" y="34"/>
                  <a:pt x="14" y="34"/>
                  <a:pt x="14" y="34"/>
                </a:cubicBezTo>
                <a:cubicBezTo>
                  <a:pt x="15" y="34"/>
                  <a:pt x="15" y="33"/>
                  <a:pt x="16" y="33"/>
                </a:cubicBezTo>
                <a:cubicBezTo>
                  <a:pt x="18" y="32"/>
                  <a:pt x="18" y="32"/>
                  <a:pt x="18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1" y="32"/>
                  <a:pt x="23" y="32"/>
                  <a:pt x="25" y="32"/>
                </a:cubicBezTo>
                <a:cubicBezTo>
                  <a:pt x="36" y="32"/>
                  <a:pt x="45" y="26"/>
                  <a:pt x="45" y="19"/>
                </a:cubicBezTo>
                <a:cubicBezTo>
                  <a:pt x="45" y="11"/>
                  <a:pt x="36" y="5"/>
                  <a:pt x="25" y="5"/>
                </a:cubicBezTo>
                <a:cubicBezTo>
                  <a:pt x="14" y="5"/>
                  <a:pt x="4" y="11"/>
                  <a:pt x="4" y="19"/>
                </a:cubicBezTo>
                <a:close/>
                <a:moveTo>
                  <a:pt x="58" y="48"/>
                </a:moveTo>
                <a:cubicBezTo>
                  <a:pt x="59" y="49"/>
                  <a:pt x="59" y="49"/>
                  <a:pt x="59" y="50"/>
                </a:cubicBezTo>
                <a:cubicBezTo>
                  <a:pt x="59" y="50"/>
                  <a:pt x="58" y="51"/>
                  <a:pt x="58" y="51"/>
                </a:cubicBezTo>
                <a:cubicBezTo>
                  <a:pt x="57" y="51"/>
                  <a:pt x="56" y="50"/>
                  <a:pt x="55" y="50"/>
                </a:cubicBezTo>
                <a:cubicBezTo>
                  <a:pt x="51" y="49"/>
                  <a:pt x="48" y="48"/>
                  <a:pt x="45" y="46"/>
                </a:cubicBezTo>
                <a:cubicBezTo>
                  <a:pt x="43" y="46"/>
                  <a:pt x="41" y="46"/>
                  <a:pt x="39" y="46"/>
                </a:cubicBezTo>
                <a:cubicBezTo>
                  <a:pt x="32" y="46"/>
                  <a:pt x="26" y="44"/>
                  <a:pt x="22" y="41"/>
                </a:cubicBezTo>
                <a:cubicBezTo>
                  <a:pt x="23" y="42"/>
                  <a:pt x="24" y="42"/>
                  <a:pt x="25" y="42"/>
                </a:cubicBezTo>
                <a:cubicBezTo>
                  <a:pt x="33" y="42"/>
                  <a:pt x="40" y="39"/>
                  <a:pt x="45" y="35"/>
                </a:cubicBezTo>
                <a:cubicBezTo>
                  <a:pt x="51" y="31"/>
                  <a:pt x="55" y="25"/>
                  <a:pt x="55" y="19"/>
                </a:cubicBezTo>
                <a:cubicBezTo>
                  <a:pt x="55" y="17"/>
                  <a:pt x="54" y="15"/>
                  <a:pt x="54" y="13"/>
                </a:cubicBezTo>
                <a:cubicBezTo>
                  <a:pt x="60" y="17"/>
                  <a:pt x="64" y="22"/>
                  <a:pt x="64" y="28"/>
                </a:cubicBezTo>
                <a:cubicBezTo>
                  <a:pt x="64" y="34"/>
                  <a:pt x="60" y="39"/>
                  <a:pt x="54" y="42"/>
                </a:cubicBezTo>
                <a:cubicBezTo>
                  <a:pt x="55" y="45"/>
                  <a:pt x="57" y="47"/>
                  <a:pt x="58" y="48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262626">
                  <a:lumMod val="50000"/>
                  <a:lumOff val="50000"/>
                </a:srgbClr>
              </a:solidFill>
              <a:effectLst/>
              <a:uLnTx/>
              <a:uFillTx/>
              <a:latin typeface="Roboto Condensed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4024723" y="3240737"/>
            <a:ext cx="112692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 defTabSz="914400">
              <a:spcBef>
                <a:spcPct val="20000"/>
              </a:spcBef>
              <a:defRPr/>
            </a:pPr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</a:rPr>
              <a:t>TEAM</a:t>
            </a:r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4038452" y="4617045"/>
            <a:ext cx="1126924" cy="18466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ctr" defTabSz="914400">
              <a:spcBef>
                <a:spcPct val="20000"/>
              </a:spcBef>
              <a:defRPr/>
            </a:pPr>
            <a:r>
              <a:rPr lang="en-US" sz="1200" b="1" dirty="0" smtClean="0">
                <a:solidFill>
                  <a:schemeClr val="bg1">
                    <a:lumMod val="50000"/>
                  </a:schemeClr>
                </a:solidFill>
              </a:rPr>
              <a:t>4 SUBTEAMS</a:t>
            </a:r>
            <a:endParaRPr lang="en-US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0" name="Bent Arrow 79"/>
          <p:cNvSpPr/>
          <p:nvPr/>
        </p:nvSpPr>
        <p:spPr bwMode="auto">
          <a:xfrm rot="16200000" flipH="1" flipV="1">
            <a:off x="6351632" y="3528605"/>
            <a:ext cx="532977" cy="2288224"/>
          </a:xfrm>
          <a:prstGeom prst="bentArrow">
            <a:avLst>
              <a:gd name="adj1" fmla="val 11036"/>
              <a:gd name="adj2" fmla="val 15672"/>
              <a:gd name="adj3" fmla="val 0"/>
              <a:gd name="adj4" fmla="val 57006"/>
            </a:avLst>
          </a:prstGeom>
          <a:solidFill>
            <a:schemeClr val="bg1">
              <a:lumMod val="65000"/>
            </a:schemeClr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numCol="1" rtlCol="0" anchor="ctr" anchorCtr="1" compatLnSpc="1">
            <a:prstTxWarp prst="textNoShape">
              <a:avLst/>
            </a:prstTxWarp>
          </a:bodyPr>
          <a:lstStyle/>
          <a:p>
            <a:pPr algn="ctr"/>
            <a:endParaRPr lang="en-US" sz="12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304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/>
      <p:bldP spid="93" grpId="0"/>
      <p:bldP spid="94" grpId="0"/>
      <p:bldP spid="96" grpId="0"/>
      <p:bldP spid="12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1358938" y="1425561"/>
            <a:ext cx="7541223" cy="784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952"/>
            <a:ext cx="9143999" cy="809784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</a:rPr>
              <a:t>Decision 7 Sub-Teams</a:t>
            </a:r>
            <a:endParaRPr lang="en-US" sz="3600" b="1" dirty="0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0330" y="1251386"/>
            <a:ext cx="5965944" cy="887986"/>
          </a:xfrm>
        </p:spPr>
        <p:txBody>
          <a:bodyPr lIns="0" rIns="0" anchor="ctr" anchorCtr="0">
            <a:normAutofit/>
          </a:bodyPr>
          <a:lstStyle/>
          <a:p>
            <a:pPr marL="400050" lvl="1" indent="0">
              <a:buNone/>
            </a:pPr>
            <a:r>
              <a:rPr lang="en-US" sz="1400" dirty="0" smtClean="0">
                <a:latin typeface="+mn-lt"/>
              </a:rPr>
              <a:t>Provides the rationale for using Project Management tools and processes as a method of managing the acquisition process.</a:t>
            </a:r>
            <a:endParaRPr lang="en-US" sz="14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21731931-2280-D54F-855E-04C8FDB4BEB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74617" y="846579"/>
            <a:ext cx="804409" cy="804409"/>
            <a:chOff x="1112938" y="2324100"/>
            <a:chExt cx="804409" cy="804409"/>
          </a:xfrm>
        </p:grpSpPr>
        <p:sp>
          <p:nvSpPr>
            <p:cNvPr id="8" name="Oval 7"/>
            <p:cNvSpPr/>
            <p:nvPr/>
          </p:nvSpPr>
          <p:spPr bwMode="auto">
            <a:xfrm>
              <a:off x="1112938" y="2324100"/>
              <a:ext cx="804409" cy="804409"/>
            </a:xfrm>
            <a:prstGeom prst="ellipse">
              <a:avLst/>
            </a:prstGeom>
            <a:noFill/>
            <a:ln w="285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9" name="Oval 8"/>
            <p:cNvSpPr/>
            <p:nvPr/>
          </p:nvSpPr>
          <p:spPr bwMode="auto">
            <a:xfrm>
              <a:off x="1213489" y="2424651"/>
              <a:ext cx="603307" cy="603307"/>
            </a:xfrm>
            <a:prstGeom prst="ellipse">
              <a:avLst/>
            </a:prstGeom>
            <a:solidFill>
              <a:schemeClr val="accent1"/>
            </a:solidFill>
            <a:ln w="28575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1379577" y="1050026"/>
            <a:ext cx="3331904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defTabSz="914400">
              <a:spcBef>
                <a:spcPct val="20000"/>
              </a:spcBef>
              <a:defRPr/>
            </a:pPr>
            <a:r>
              <a:rPr lang="en-US" sz="2400" b="1" dirty="0" smtClean="0">
                <a:solidFill>
                  <a:schemeClr val="accent1"/>
                </a:solidFill>
              </a:rPr>
              <a:t>INTRODUCTION TO PMA</a:t>
            </a:r>
            <a:endParaRPr lang="en-US" sz="1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59397" y="1078209"/>
            <a:ext cx="234849" cy="341149"/>
            <a:chOff x="1397718" y="2555730"/>
            <a:chExt cx="234849" cy="341149"/>
          </a:xfrm>
        </p:grpSpPr>
        <p:sp>
          <p:nvSpPr>
            <p:cNvPr id="12" name="Freeform 140"/>
            <p:cNvSpPr>
              <a:spLocks noEditPoints="1"/>
            </p:cNvSpPr>
            <p:nvPr/>
          </p:nvSpPr>
          <p:spPr bwMode="auto">
            <a:xfrm>
              <a:off x="1397718" y="2555730"/>
              <a:ext cx="234849" cy="247208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0" y="29"/>
                </a:cxn>
                <a:cxn ang="0">
                  <a:pos x="17" y="56"/>
                </a:cxn>
                <a:cxn ang="0">
                  <a:pos x="17" y="59"/>
                </a:cxn>
                <a:cxn ang="0">
                  <a:pos x="20" y="62"/>
                </a:cxn>
                <a:cxn ang="0">
                  <a:pos x="39" y="62"/>
                </a:cxn>
                <a:cxn ang="0">
                  <a:pos x="42" y="59"/>
                </a:cxn>
                <a:cxn ang="0">
                  <a:pos x="42" y="56"/>
                </a:cxn>
                <a:cxn ang="0">
                  <a:pos x="59" y="29"/>
                </a:cxn>
                <a:cxn ang="0">
                  <a:pos x="29" y="0"/>
                </a:cxn>
                <a:cxn ang="0">
                  <a:pos x="38" y="52"/>
                </a:cxn>
                <a:cxn ang="0">
                  <a:pos x="36" y="54"/>
                </a:cxn>
                <a:cxn ang="0">
                  <a:pos x="36" y="57"/>
                </a:cxn>
                <a:cxn ang="0">
                  <a:pos x="22" y="57"/>
                </a:cxn>
                <a:cxn ang="0">
                  <a:pos x="22" y="54"/>
                </a:cxn>
                <a:cxn ang="0">
                  <a:pos x="21" y="52"/>
                </a:cxn>
                <a:cxn ang="0">
                  <a:pos x="5" y="29"/>
                </a:cxn>
                <a:cxn ang="0">
                  <a:pos x="29" y="5"/>
                </a:cxn>
                <a:cxn ang="0">
                  <a:pos x="53" y="29"/>
                </a:cxn>
                <a:cxn ang="0">
                  <a:pos x="38" y="52"/>
                </a:cxn>
              </a:cxnLst>
              <a:rect l="0" t="0" r="r" b="b"/>
              <a:pathLst>
                <a:path w="59" h="62">
                  <a:moveTo>
                    <a:pt x="29" y="0"/>
                  </a:moveTo>
                  <a:cubicBezTo>
                    <a:pt x="13" y="0"/>
                    <a:pt x="0" y="13"/>
                    <a:pt x="0" y="29"/>
                  </a:cubicBezTo>
                  <a:cubicBezTo>
                    <a:pt x="0" y="41"/>
                    <a:pt x="7" y="51"/>
                    <a:pt x="17" y="56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7" y="61"/>
                    <a:pt x="18" y="62"/>
                    <a:pt x="20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40" y="62"/>
                    <a:pt x="42" y="61"/>
                    <a:pt x="42" y="59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52" y="51"/>
                    <a:pt x="59" y="41"/>
                    <a:pt x="59" y="29"/>
                  </a:cubicBezTo>
                  <a:cubicBezTo>
                    <a:pt x="59" y="13"/>
                    <a:pt x="45" y="0"/>
                    <a:pt x="29" y="0"/>
                  </a:cubicBezTo>
                  <a:close/>
                  <a:moveTo>
                    <a:pt x="38" y="52"/>
                  </a:moveTo>
                  <a:cubicBezTo>
                    <a:pt x="37" y="52"/>
                    <a:pt x="36" y="53"/>
                    <a:pt x="36" y="54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22" y="57"/>
                    <a:pt x="22" y="57"/>
                    <a:pt x="22" y="57"/>
                  </a:cubicBezTo>
                  <a:cubicBezTo>
                    <a:pt x="22" y="54"/>
                    <a:pt x="22" y="54"/>
                    <a:pt x="22" y="54"/>
                  </a:cubicBezTo>
                  <a:cubicBezTo>
                    <a:pt x="22" y="53"/>
                    <a:pt x="22" y="52"/>
                    <a:pt x="21" y="52"/>
                  </a:cubicBezTo>
                  <a:cubicBezTo>
                    <a:pt x="11" y="48"/>
                    <a:pt x="5" y="39"/>
                    <a:pt x="5" y="29"/>
                  </a:cubicBezTo>
                  <a:cubicBezTo>
                    <a:pt x="5" y="16"/>
                    <a:pt x="16" y="5"/>
                    <a:pt x="29" y="5"/>
                  </a:cubicBezTo>
                  <a:cubicBezTo>
                    <a:pt x="42" y="5"/>
                    <a:pt x="53" y="16"/>
                    <a:pt x="53" y="29"/>
                  </a:cubicBezTo>
                  <a:cubicBezTo>
                    <a:pt x="53" y="39"/>
                    <a:pt x="47" y="48"/>
                    <a:pt x="38" y="52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41"/>
            <p:cNvSpPr>
              <a:spLocks/>
            </p:cNvSpPr>
            <p:nvPr/>
          </p:nvSpPr>
          <p:spPr bwMode="auto">
            <a:xfrm>
              <a:off x="1578181" y="2647198"/>
              <a:ext cx="19777" cy="39553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2" y="1"/>
                </a:cxn>
                <a:cxn ang="0">
                  <a:pos x="1" y="3"/>
                </a:cxn>
                <a:cxn ang="0">
                  <a:pos x="1" y="6"/>
                </a:cxn>
                <a:cxn ang="0">
                  <a:pos x="1" y="8"/>
                </a:cxn>
                <a:cxn ang="0">
                  <a:pos x="2" y="10"/>
                </a:cxn>
                <a:cxn ang="0">
                  <a:pos x="3" y="10"/>
                </a:cxn>
                <a:cxn ang="0">
                  <a:pos x="4" y="9"/>
                </a:cxn>
                <a:cxn ang="0">
                  <a:pos x="5" y="6"/>
                </a:cxn>
                <a:cxn ang="0">
                  <a:pos x="4" y="2"/>
                </a:cxn>
              </a:cxnLst>
              <a:rect l="0" t="0" r="r" b="b"/>
              <a:pathLst>
                <a:path w="5" h="10">
                  <a:moveTo>
                    <a:pt x="4" y="2"/>
                  </a:moveTo>
                  <a:cubicBezTo>
                    <a:pt x="4" y="1"/>
                    <a:pt x="3" y="0"/>
                    <a:pt x="2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4"/>
                    <a:pt x="1" y="5"/>
                    <a:pt x="1" y="6"/>
                  </a:cubicBezTo>
                  <a:cubicBezTo>
                    <a:pt x="1" y="7"/>
                    <a:pt x="1" y="8"/>
                    <a:pt x="1" y="8"/>
                  </a:cubicBezTo>
                  <a:cubicBezTo>
                    <a:pt x="1" y="9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9"/>
                  </a:cubicBezTo>
                  <a:cubicBezTo>
                    <a:pt x="5" y="8"/>
                    <a:pt x="5" y="7"/>
                    <a:pt x="5" y="6"/>
                  </a:cubicBezTo>
                  <a:cubicBezTo>
                    <a:pt x="5" y="5"/>
                    <a:pt x="4" y="3"/>
                    <a:pt x="4" y="2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42"/>
            <p:cNvSpPr>
              <a:spLocks/>
            </p:cNvSpPr>
            <p:nvPr/>
          </p:nvSpPr>
          <p:spPr bwMode="auto">
            <a:xfrm>
              <a:off x="1521322" y="2592812"/>
              <a:ext cx="59330" cy="42026"/>
            </a:xfrm>
            <a:custGeom>
              <a:avLst/>
              <a:gdLst/>
              <a:ahLst/>
              <a:cxnLst>
                <a:cxn ang="0">
                  <a:pos x="15" y="8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12" y="10"/>
                </a:cxn>
                <a:cxn ang="0">
                  <a:pos x="13" y="11"/>
                </a:cxn>
                <a:cxn ang="0">
                  <a:pos x="14" y="11"/>
                </a:cxn>
                <a:cxn ang="0">
                  <a:pos x="15" y="8"/>
                </a:cxn>
              </a:cxnLst>
              <a:rect l="0" t="0" r="r" b="b"/>
              <a:pathLst>
                <a:path w="15" h="11">
                  <a:moveTo>
                    <a:pt x="15" y="8"/>
                  </a:moveTo>
                  <a:cubicBezTo>
                    <a:pt x="12" y="4"/>
                    <a:pt x="7" y="1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6" y="5"/>
                    <a:pt x="9" y="7"/>
                    <a:pt x="12" y="10"/>
                  </a:cubicBezTo>
                  <a:cubicBezTo>
                    <a:pt x="12" y="11"/>
                    <a:pt x="13" y="11"/>
                    <a:pt x="13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5" y="10"/>
                    <a:pt x="15" y="9"/>
                    <a:pt x="15" y="8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3"/>
            <p:cNvSpPr>
              <a:spLocks/>
            </p:cNvSpPr>
            <p:nvPr/>
          </p:nvSpPr>
          <p:spPr bwMode="auto">
            <a:xfrm>
              <a:off x="1476825" y="2815299"/>
              <a:ext cx="74163" cy="24721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3" y="0"/>
                </a:cxn>
                <a:cxn ang="0">
                  <a:pos x="0" y="3"/>
                </a:cxn>
                <a:cxn ang="0">
                  <a:pos x="3" y="6"/>
                </a:cxn>
                <a:cxn ang="0">
                  <a:pos x="16" y="6"/>
                </a:cxn>
                <a:cxn ang="0">
                  <a:pos x="18" y="3"/>
                </a:cxn>
                <a:cxn ang="0">
                  <a:pos x="16" y="0"/>
                </a:cxn>
              </a:cxnLst>
              <a:rect l="0" t="0" r="r" b="b"/>
              <a:pathLst>
                <a:path w="18" h="6">
                  <a:moveTo>
                    <a:pt x="16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7" y="6"/>
                    <a:pt x="18" y="4"/>
                    <a:pt x="18" y="3"/>
                  </a:cubicBezTo>
                  <a:cubicBezTo>
                    <a:pt x="18" y="1"/>
                    <a:pt x="17" y="0"/>
                    <a:pt x="16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4"/>
            <p:cNvSpPr>
              <a:spLocks/>
            </p:cNvSpPr>
            <p:nvPr/>
          </p:nvSpPr>
          <p:spPr bwMode="auto">
            <a:xfrm>
              <a:off x="1486713" y="2852380"/>
              <a:ext cx="59330" cy="19777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5"/>
                </a:cxn>
                <a:cxn ang="0">
                  <a:pos x="12" y="5"/>
                </a:cxn>
                <a:cxn ang="0">
                  <a:pos x="15" y="2"/>
                </a:cxn>
                <a:cxn ang="0">
                  <a:pos x="12" y="0"/>
                </a:cxn>
              </a:cxnLst>
              <a:rect l="0" t="0" r="r" b="b"/>
              <a:pathLst>
                <a:path w="15" h="5">
                  <a:moveTo>
                    <a:pt x="1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4" y="5"/>
                    <a:pt x="15" y="4"/>
                    <a:pt x="15" y="2"/>
                  </a:cubicBezTo>
                  <a:cubicBezTo>
                    <a:pt x="15" y="1"/>
                    <a:pt x="14" y="0"/>
                    <a:pt x="12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5"/>
            <p:cNvSpPr>
              <a:spLocks/>
            </p:cNvSpPr>
            <p:nvPr/>
          </p:nvSpPr>
          <p:spPr bwMode="auto">
            <a:xfrm>
              <a:off x="1499074" y="2879574"/>
              <a:ext cx="29665" cy="17305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2" y="0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7" y="4"/>
                </a:cxn>
                <a:cxn ang="0">
                  <a:pos x="8" y="2"/>
                </a:cxn>
                <a:cxn ang="0">
                  <a:pos x="7" y="0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1"/>
                    <a:pt x="7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46"/>
            <p:cNvSpPr>
              <a:spLocks/>
            </p:cNvSpPr>
            <p:nvPr/>
          </p:nvSpPr>
          <p:spPr bwMode="auto">
            <a:xfrm>
              <a:off x="1474353" y="2666975"/>
              <a:ext cx="84051" cy="101356"/>
            </a:xfrm>
            <a:custGeom>
              <a:avLst/>
              <a:gdLst/>
              <a:ahLst/>
              <a:cxnLst>
                <a:cxn ang="0">
                  <a:pos x="19" y="1"/>
                </a:cxn>
                <a:cxn ang="0">
                  <a:pos x="17" y="2"/>
                </a:cxn>
                <a:cxn ang="0">
                  <a:pos x="10" y="19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3" y="2"/>
                </a:cxn>
                <a:cxn ang="0">
                  <a:pos x="12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3"/>
                </a:cxn>
                <a:cxn ang="0">
                  <a:pos x="9" y="24"/>
                </a:cxn>
                <a:cxn ang="0">
                  <a:pos x="10" y="25"/>
                </a:cxn>
                <a:cxn ang="0">
                  <a:pos x="10" y="25"/>
                </a:cxn>
                <a:cxn ang="0">
                  <a:pos x="10" y="25"/>
                </a:cxn>
                <a:cxn ang="0">
                  <a:pos x="12" y="24"/>
                </a:cxn>
                <a:cxn ang="0">
                  <a:pos x="20" y="3"/>
                </a:cxn>
                <a:cxn ang="0">
                  <a:pos x="19" y="1"/>
                </a:cxn>
              </a:cxnLst>
              <a:rect l="0" t="0" r="r" b="b"/>
              <a:pathLst>
                <a:path w="21" h="25">
                  <a:moveTo>
                    <a:pt x="19" y="1"/>
                  </a:moveTo>
                  <a:cubicBezTo>
                    <a:pt x="19" y="0"/>
                    <a:pt x="17" y="1"/>
                    <a:pt x="17" y="2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3" y="3"/>
                    <a:pt x="13" y="2"/>
                  </a:cubicBezTo>
                  <a:cubicBezTo>
                    <a:pt x="13" y="1"/>
                    <a:pt x="13" y="0"/>
                    <a:pt x="1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5"/>
                    <a:pt x="9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1" y="25"/>
                    <a:pt x="12" y="25"/>
                    <a:pt x="12" y="24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2"/>
                    <a:pt x="20" y="1"/>
                    <a:pt x="19" y="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6922914" y="1504028"/>
            <a:ext cx="1966976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r" defTabSz="914400">
              <a:defRPr/>
            </a:pPr>
            <a:r>
              <a:rPr lang="en-US" sz="1200" b="1" dirty="0" smtClean="0">
                <a:solidFill>
                  <a:schemeClr val="accent1"/>
                </a:solidFill>
              </a:rPr>
              <a:t>Lead: Suzanne Sierra</a:t>
            </a:r>
          </a:p>
          <a:p>
            <a:pPr lvl="0" algn="r" defTabSz="914400">
              <a:defRPr/>
            </a:pPr>
            <a:r>
              <a:rPr lang="en-US" sz="1200" dirty="0" smtClean="0">
                <a:solidFill>
                  <a:schemeClr val="accent1"/>
                </a:solidFill>
              </a:rPr>
              <a:t>Wendy Pennington</a:t>
            </a:r>
          </a:p>
          <a:p>
            <a:pPr lvl="0" algn="r" defTabSz="914400">
              <a:defRPr/>
            </a:pPr>
            <a:r>
              <a:rPr lang="en-US" sz="1200" dirty="0" smtClean="0">
                <a:solidFill>
                  <a:schemeClr val="accent1"/>
                </a:solidFill>
              </a:rPr>
              <a:t>Nick Nemecek</a:t>
            </a:r>
          </a:p>
          <a:p>
            <a:pPr lvl="0" algn="r" defTabSz="914400">
              <a:defRPr/>
            </a:pPr>
            <a:r>
              <a:rPr lang="en-US" sz="1200" dirty="0" smtClean="0">
                <a:solidFill>
                  <a:schemeClr val="accent1"/>
                </a:solidFill>
              </a:rPr>
              <a:t>Andrea Thomas</a:t>
            </a:r>
          </a:p>
          <a:p>
            <a:pPr lvl="0" algn="r" defTabSz="914400">
              <a:defRPr/>
            </a:pPr>
            <a:r>
              <a:rPr lang="en-US" sz="1200" dirty="0" smtClean="0">
                <a:solidFill>
                  <a:schemeClr val="accent1"/>
                </a:solidFill>
              </a:rPr>
              <a:t>Mary Ann Tolodziecki</a:t>
            </a:r>
            <a:endParaRPr lang="en-US" sz="1200" dirty="0">
              <a:solidFill>
                <a:schemeClr val="accent1"/>
              </a:solidFill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475626" y="2101430"/>
            <a:ext cx="804409" cy="804409"/>
            <a:chOff x="5495925" y="3067050"/>
            <a:chExt cx="838200" cy="838200"/>
          </a:xfrm>
        </p:grpSpPr>
        <p:sp>
          <p:nvSpPr>
            <p:cNvPr id="22" name="Oval 21"/>
            <p:cNvSpPr/>
            <p:nvPr/>
          </p:nvSpPr>
          <p:spPr bwMode="auto">
            <a:xfrm>
              <a:off x="5495925" y="3067050"/>
              <a:ext cx="838200" cy="838200"/>
            </a:xfrm>
            <a:prstGeom prst="ellipse">
              <a:avLst/>
            </a:prstGeom>
            <a:noFill/>
            <a:ln w="285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3" name="Oval 22"/>
            <p:cNvSpPr/>
            <p:nvPr/>
          </p:nvSpPr>
          <p:spPr bwMode="auto">
            <a:xfrm>
              <a:off x="5600700" y="3171825"/>
              <a:ext cx="628650" cy="628650"/>
            </a:xfrm>
            <a:prstGeom prst="ellipse">
              <a:avLst/>
            </a:prstGeom>
            <a:solidFill>
              <a:schemeClr val="accent2"/>
            </a:solidFill>
            <a:ln w="28575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5" name="Group 38"/>
          <p:cNvGrpSpPr/>
          <p:nvPr/>
        </p:nvGrpSpPr>
        <p:grpSpPr>
          <a:xfrm>
            <a:off x="666196" y="2280150"/>
            <a:ext cx="405849" cy="430591"/>
            <a:chOff x="4175125" y="2278063"/>
            <a:chExt cx="260350" cy="276225"/>
          </a:xfrm>
          <a:solidFill>
            <a:schemeClr val="bg1"/>
          </a:solidFill>
        </p:grpSpPr>
        <p:sp>
          <p:nvSpPr>
            <p:cNvPr id="26" name="Freeform 33"/>
            <p:cNvSpPr>
              <a:spLocks/>
            </p:cNvSpPr>
            <p:nvPr/>
          </p:nvSpPr>
          <p:spPr bwMode="auto">
            <a:xfrm>
              <a:off x="4203700" y="2295526"/>
              <a:ext cx="33338" cy="38100"/>
            </a:xfrm>
            <a:custGeom>
              <a:avLst/>
              <a:gdLst/>
              <a:ahLst/>
              <a:cxnLst>
                <a:cxn ang="0">
                  <a:pos x="11" y="25"/>
                </a:cxn>
                <a:cxn ang="0">
                  <a:pos x="2" y="17"/>
                </a:cxn>
                <a:cxn ang="0">
                  <a:pos x="2" y="16"/>
                </a:cxn>
                <a:cxn ang="0">
                  <a:pos x="1" y="16"/>
                </a:cxn>
                <a:cxn ang="0">
                  <a:pos x="0" y="12"/>
                </a:cxn>
                <a:cxn ang="0">
                  <a:pos x="1" y="11"/>
                </a:cxn>
                <a:cxn ang="0">
                  <a:pos x="1" y="11"/>
                </a:cxn>
                <a:cxn ang="0">
                  <a:pos x="2" y="10"/>
                </a:cxn>
                <a:cxn ang="0">
                  <a:pos x="11" y="0"/>
                </a:cxn>
                <a:cxn ang="0">
                  <a:pos x="21" y="11"/>
                </a:cxn>
                <a:cxn ang="0">
                  <a:pos x="21" y="11"/>
                </a:cxn>
                <a:cxn ang="0">
                  <a:pos x="21" y="11"/>
                </a:cxn>
                <a:cxn ang="0">
                  <a:pos x="22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1" y="25"/>
                </a:cxn>
              </a:cxnLst>
              <a:rect l="0" t="0" r="r" b="b"/>
              <a:pathLst>
                <a:path w="22" h="25">
                  <a:moveTo>
                    <a:pt x="11" y="25"/>
                  </a:moveTo>
                  <a:cubicBezTo>
                    <a:pt x="5" y="25"/>
                    <a:pt x="3" y="19"/>
                    <a:pt x="2" y="17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6"/>
                    <a:pt x="0" y="14"/>
                    <a:pt x="0" y="12"/>
                  </a:cubicBezTo>
                  <a:cubicBezTo>
                    <a:pt x="0" y="12"/>
                    <a:pt x="0" y="12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5"/>
                    <a:pt x="6" y="0"/>
                    <a:pt x="11" y="0"/>
                  </a:cubicBezTo>
                  <a:cubicBezTo>
                    <a:pt x="16" y="0"/>
                    <a:pt x="20" y="5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4"/>
                    <a:pt x="21" y="15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9"/>
                    <a:pt x="17" y="25"/>
                    <a:pt x="11" y="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4"/>
            <p:cNvSpPr>
              <a:spLocks/>
            </p:cNvSpPr>
            <p:nvPr/>
          </p:nvSpPr>
          <p:spPr bwMode="auto">
            <a:xfrm>
              <a:off x="4371975" y="2295526"/>
              <a:ext cx="34925" cy="38100"/>
            </a:xfrm>
            <a:custGeom>
              <a:avLst/>
              <a:gdLst/>
              <a:ahLst/>
              <a:cxnLst>
                <a:cxn ang="0">
                  <a:pos x="12" y="25"/>
                </a:cxn>
                <a:cxn ang="0">
                  <a:pos x="3" y="17"/>
                </a:cxn>
                <a:cxn ang="0">
                  <a:pos x="3" y="16"/>
                </a:cxn>
                <a:cxn ang="0">
                  <a:pos x="2" y="16"/>
                </a:cxn>
                <a:cxn ang="0">
                  <a:pos x="0" y="12"/>
                </a:cxn>
                <a:cxn ang="0">
                  <a:pos x="1" y="11"/>
                </a:cxn>
                <a:cxn ang="0">
                  <a:pos x="2" y="11"/>
                </a:cxn>
                <a:cxn ang="0">
                  <a:pos x="2" y="10"/>
                </a:cxn>
                <a:cxn ang="0">
                  <a:pos x="12" y="0"/>
                </a:cxn>
                <a:cxn ang="0">
                  <a:pos x="21" y="11"/>
                </a:cxn>
                <a:cxn ang="0">
                  <a:pos x="21" y="11"/>
                </a:cxn>
                <a:cxn ang="0">
                  <a:pos x="22" y="11"/>
                </a:cxn>
                <a:cxn ang="0">
                  <a:pos x="23" y="12"/>
                </a:cxn>
                <a:cxn ang="0">
                  <a:pos x="21" y="16"/>
                </a:cxn>
                <a:cxn ang="0">
                  <a:pos x="21" y="16"/>
                </a:cxn>
                <a:cxn ang="0">
                  <a:pos x="20" y="16"/>
                </a:cxn>
                <a:cxn ang="0">
                  <a:pos x="12" y="25"/>
                </a:cxn>
              </a:cxnLst>
              <a:rect l="0" t="0" r="r" b="b"/>
              <a:pathLst>
                <a:path w="23" h="25">
                  <a:moveTo>
                    <a:pt x="12" y="25"/>
                  </a:moveTo>
                  <a:cubicBezTo>
                    <a:pt x="6" y="25"/>
                    <a:pt x="3" y="19"/>
                    <a:pt x="3" y="17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0" y="14"/>
                    <a:pt x="0" y="12"/>
                  </a:cubicBezTo>
                  <a:cubicBezTo>
                    <a:pt x="0" y="12"/>
                    <a:pt x="1" y="12"/>
                    <a:pt x="1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5"/>
                    <a:pt x="6" y="0"/>
                    <a:pt x="12" y="0"/>
                  </a:cubicBezTo>
                  <a:cubicBezTo>
                    <a:pt x="17" y="0"/>
                    <a:pt x="21" y="5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2"/>
                    <a:pt x="23" y="12"/>
                    <a:pt x="23" y="12"/>
                  </a:cubicBezTo>
                  <a:cubicBezTo>
                    <a:pt x="23" y="14"/>
                    <a:pt x="22" y="15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9"/>
                    <a:pt x="18" y="25"/>
                    <a:pt x="12" y="2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5"/>
            <p:cNvSpPr>
              <a:spLocks/>
            </p:cNvSpPr>
            <p:nvPr/>
          </p:nvSpPr>
          <p:spPr bwMode="auto">
            <a:xfrm>
              <a:off x="4183063" y="2339976"/>
              <a:ext cx="69850" cy="141288"/>
            </a:xfrm>
            <a:custGeom>
              <a:avLst/>
              <a:gdLst/>
              <a:ahLst/>
              <a:cxnLst>
                <a:cxn ang="0">
                  <a:pos x="32" y="94"/>
                </a:cxn>
                <a:cxn ang="0">
                  <a:pos x="27" y="89"/>
                </a:cxn>
                <a:cxn ang="0">
                  <a:pos x="27" y="48"/>
                </a:cxn>
                <a:cxn ang="0">
                  <a:pos x="22" y="48"/>
                </a:cxn>
                <a:cxn ang="0">
                  <a:pos x="22" y="89"/>
                </a:cxn>
                <a:cxn ang="0">
                  <a:pos x="17" y="94"/>
                </a:cxn>
                <a:cxn ang="0">
                  <a:pos x="12" y="89"/>
                </a:cxn>
                <a:cxn ang="0">
                  <a:pos x="12" y="45"/>
                </a:cxn>
                <a:cxn ang="0">
                  <a:pos x="12" y="42"/>
                </a:cxn>
                <a:cxn ang="0">
                  <a:pos x="12" y="13"/>
                </a:cxn>
                <a:cxn ang="0">
                  <a:pos x="11" y="13"/>
                </a:cxn>
                <a:cxn ang="0">
                  <a:pos x="11" y="13"/>
                </a:cxn>
                <a:cxn ang="0">
                  <a:pos x="7" y="28"/>
                </a:cxn>
                <a:cxn ang="0">
                  <a:pos x="8" y="44"/>
                </a:cxn>
                <a:cxn ang="0">
                  <a:pos x="7" y="47"/>
                </a:cxn>
                <a:cxn ang="0">
                  <a:pos x="5" y="48"/>
                </a:cxn>
                <a:cxn ang="0">
                  <a:pos x="5" y="48"/>
                </a:cxn>
                <a:cxn ang="0">
                  <a:pos x="2" y="44"/>
                </a:cxn>
                <a:cxn ang="0">
                  <a:pos x="1" y="44"/>
                </a:cxn>
                <a:cxn ang="0">
                  <a:pos x="1" y="28"/>
                </a:cxn>
                <a:cxn ang="0">
                  <a:pos x="7" y="4"/>
                </a:cxn>
                <a:cxn ang="0">
                  <a:pos x="16" y="1"/>
                </a:cxn>
                <a:cxn ang="0">
                  <a:pos x="17" y="0"/>
                </a:cxn>
                <a:cxn ang="0">
                  <a:pos x="21" y="14"/>
                </a:cxn>
                <a:cxn ang="0">
                  <a:pos x="23" y="17"/>
                </a:cxn>
                <a:cxn ang="0">
                  <a:pos x="23" y="13"/>
                </a:cxn>
                <a:cxn ang="0">
                  <a:pos x="24" y="5"/>
                </a:cxn>
                <a:cxn ang="0">
                  <a:pos x="25" y="4"/>
                </a:cxn>
                <a:cxn ang="0">
                  <a:pos x="24" y="2"/>
                </a:cxn>
                <a:cxn ang="0">
                  <a:pos x="25" y="1"/>
                </a:cxn>
                <a:cxn ang="0">
                  <a:pos x="25" y="1"/>
                </a:cxn>
                <a:cxn ang="0">
                  <a:pos x="26" y="2"/>
                </a:cxn>
                <a:cxn ang="0">
                  <a:pos x="25" y="4"/>
                </a:cxn>
                <a:cxn ang="0">
                  <a:pos x="25" y="5"/>
                </a:cxn>
                <a:cxn ang="0">
                  <a:pos x="27" y="13"/>
                </a:cxn>
                <a:cxn ang="0">
                  <a:pos x="27" y="17"/>
                </a:cxn>
                <a:cxn ang="0">
                  <a:pos x="29" y="14"/>
                </a:cxn>
                <a:cxn ang="0">
                  <a:pos x="33" y="0"/>
                </a:cxn>
                <a:cxn ang="0">
                  <a:pos x="34" y="1"/>
                </a:cxn>
                <a:cxn ang="0">
                  <a:pos x="43" y="4"/>
                </a:cxn>
                <a:cxn ang="0">
                  <a:pos x="47" y="13"/>
                </a:cxn>
                <a:cxn ang="0">
                  <a:pos x="43" y="34"/>
                </a:cxn>
                <a:cxn ang="0">
                  <a:pos x="43" y="48"/>
                </a:cxn>
                <a:cxn ang="0">
                  <a:pos x="42" y="44"/>
                </a:cxn>
                <a:cxn ang="0">
                  <a:pos x="42" y="44"/>
                </a:cxn>
                <a:cxn ang="0">
                  <a:pos x="42" y="28"/>
                </a:cxn>
                <a:cxn ang="0">
                  <a:pos x="40" y="13"/>
                </a:cxn>
                <a:cxn ang="0">
                  <a:pos x="38" y="14"/>
                </a:cxn>
                <a:cxn ang="0">
                  <a:pos x="38" y="42"/>
                </a:cxn>
                <a:cxn ang="0">
                  <a:pos x="37" y="44"/>
                </a:cxn>
                <a:cxn ang="0">
                  <a:pos x="37" y="89"/>
                </a:cxn>
                <a:cxn ang="0">
                  <a:pos x="32" y="94"/>
                </a:cxn>
              </a:cxnLst>
              <a:rect l="0" t="0" r="r" b="b"/>
              <a:pathLst>
                <a:path w="47" h="94">
                  <a:moveTo>
                    <a:pt x="32" y="94"/>
                  </a:moveTo>
                  <a:cubicBezTo>
                    <a:pt x="30" y="94"/>
                    <a:pt x="27" y="92"/>
                    <a:pt x="27" y="89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92"/>
                    <a:pt x="20" y="94"/>
                    <a:pt x="17" y="94"/>
                  </a:cubicBezTo>
                  <a:cubicBezTo>
                    <a:pt x="15" y="94"/>
                    <a:pt x="12" y="92"/>
                    <a:pt x="12" y="89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4"/>
                    <a:pt x="12" y="43"/>
                    <a:pt x="12" y="42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9" y="13"/>
                    <a:pt x="7" y="26"/>
                    <a:pt x="7" y="28"/>
                  </a:cubicBezTo>
                  <a:cubicBezTo>
                    <a:pt x="7" y="36"/>
                    <a:pt x="8" y="44"/>
                    <a:pt x="8" y="44"/>
                  </a:cubicBezTo>
                  <a:cubicBezTo>
                    <a:pt x="8" y="46"/>
                    <a:pt x="8" y="46"/>
                    <a:pt x="7" y="47"/>
                  </a:cubicBezTo>
                  <a:cubicBezTo>
                    <a:pt x="7" y="48"/>
                    <a:pt x="6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2" y="48"/>
                    <a:pt x="2" y="47"/>
                    <a:pt x="2" y="44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4"/>
                    <a:pt x="0" y="33"/>
                    <a:pt x="1" y="28"/>
                  </a:cubicBezTo>
                  <a:cubicBezTo>
                    <a:pt x="2" y="9"/>
                    <a:pt x="6" y="5"/>
                    <a:pt x="7" y="4"/>
                  </a:cubicBezTo>
                  <a:cubicBezTo>
                    <a:pt x="8" y="3"/>
                    <a:pt x="11" y="2"/>
                    <a:pt x="16" y="1"/>
                  </a:cubicBezTo>
                  <a:cubicBezTo>
                    <a:pt x="16" y="0"/>
                    <a:pt x="17" y="0"/>
                    <a:pt x="17" y="0"/>
                  </a:cubicBezTo>
                  <a:cubicBezTo>
                    <a:pt x="17" y="3"/>
                    <a:pt x="18" y="8"/>
                    <a:pt x="21" y="14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4" y="9"/>
                    <a:pt x="24" y="5"/>
                    <a:pt x="24" y="5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6" y="9"/>
                    <a:pt x="27" y="13"/>
                  </a:cubicBezTo>
                  <a:cubicBezTo>
                    <a:pt x="27" y="17"/>
                    <a:pt x="27" y="17"/>
                    <a:pt x="27" y="17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31" y="8"/>
                    <a:pt x="32" y="3"/>
                    <a:pt x="33" y="0"/>
                  </a:cubicBezTo>
                  <a:cubicBezTo>
                    <a:pt x="33" y="0"/>
                    <a:pt x="34" y="0"/>
                    <a:pt x="34" y="1"/>
                  </a:cubicBezTo>
                  <a:cubicBezTo>
                    <a:pt x="38" y="2"/>
                    <a:pt x="41" y="3"/>
                    <a:pt x="43" y="4"/>
                  </a:cubicBezTo>
                  <a:cubicBezTo>
                    <a:pt x="43" y="4"/>
                    <a:pt x="45" y="7"/>
                    <a:pt x="47" y="13"/>
                  </a:cubicBezTo>
                  <a:cubicBezTo>
                    <a:pt x="45" y="19"/>
                    <a:pt x="44" y="26"/>
                    <a:pt x="43" y="34"/>
                  </a:cubicBezTo>
                  <a:cubicBezTo>
                    <a:pt x="43" y="37"/>
                    <a:pt x="43" y="42"/>
                    <a:pt x="43" y="48"/>
                  </a:cubicBezTo>
                  <a:cubicBezTo>
                    <a:pt x="42" y="47"/>
                    <a:pt x="42" y="45"/>
                    <a:pt x="42" y="4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3" y="36"/>
                    <a:pt x="42" y="28"/>
                  </a:cubicBezTo>
                  <a:cubicBezTo>
                    <a:pt x="42" y="26"/>
                    <a:pt x="41" y="16"/>
                    <a:pt x="40" y="13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3"/>
                    <a:pt x="38" y="44"/>
                    <a:pt x="37" y="44"/>
                  </a:cubicBezTo>
                  <a:cubicBezTo>
                    <a:pt x="37" y="89"/>
                    <a:pt x="37" y="89"/>
                    <a:pt x="37" y="89"/>
                  </a:cubicBezTo>
                  <a:cubicBezTo>
                    <a:pt x="37" y="92"/>
                    <a:pt x="35" y="94"/>
                    <a:pt x="32" y="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6"/>
            <p:cNvSpPr>
              <a:spLocks/>
            </p:cNvSpPr>
            <p:nvPr/>
          </p:nvSpPr>
          <p:spPr bwMode="auto">
            <a:xfrm>
              <a:off x="4356100" y="2339976"/>
              <a:ext cx="69850" cy="141288"/>
            </a:xfrm>
            <a:custGeom>
              <a:avLst/>
              <a:gdLst/>
              <a:ahLst/>
              <a:cxnLst>
                <a:cxn ang="0">
                  <a:pos x="29" y="94"/>
                </a:cxn>
                <a:cxn ang="0">
                  <a:pos x="24" y="89"/>
                </a:cxn>
                <a:cxn ang="0">
                  <a:pos x="24" y="48"/>
                </a:cxn>
                <a:cxn ang="0">
                  <a:pos x="19" y="48"/>
                </a:cxn>
                <a:cxn ang="0">
                  <a:pos x="19" y="89"/>
                </a:cxn>
                <a:cxn ang="0">
                  <a:pos x="14" y="94"/>
                </a:cxn>
                <a:cxn ang="0">
                  <a:pos x="9" y="89"/>
                </a:cxn>
                <a:cxn ang="0">
                  <a:pos x="9" y="45"/>
                </a:cxn>
                <a:cxn ang="0">
                  <a:pos x="9" y="42"/>
                </a:cxn>
                <a:cxn ang="0">
                  <a:pos x="9" y="12"/>
                </a:cxn>
                <a:cxn ang="0">
                  <a:pos x="7" y="13"/>
                </a:cxn>
                <a:cxn ang="0">
                  <a:pos x="7" y="13"/>
                </a:cxn>
                <a:cxn ang="0">
                  <a:pos x="4" y="28"/>
                </a:cxn>
                <a:cxn ang="0">
                  <a:pos x="5" y="44"/>
                </a:cxn>
                <a:cxn ang="0">
                  <a:pos x="3" y="48"/>
                </a:cxn>
                <a:cxn ang="0">
                  <a:pos x="3" y="34"/>
                </a:cxn>
                <a:cxn ang="0">
                  <a:pos x="0" y="13"/>
                </a:cxn>
                <a:cxn ang="0">
                  <a:pos x="4" y="4"/>
                </a:cxn>
                <a:cxn ang="0">
                  <a:pos x="12" y="1"/>
                </a:cxn>
                <a:cxn ang="0">
                  <a:pos x="14" y="0"/>
                </a:cxn>
                <a:cxn ang="0">
                  <a:pos x="18" y="14"/>
                </a:cxn>
                <a:cxn ang="0">
                  <a:pos x="19" y="17"/>
                </a:cxn>
                <a:cxn ang="0">
                  <a:pos x="20" y="13"/>
                </a:cxn>
                <a:cxn ang="0">
                  <a:pos x="21" y="5"/>
                </a:cxn>
                <a:cxn ang="0">
                  <a:pos x="21" y="4"/>
                </a:cxn>
                <a:cxn ang="0">
                  <a:pos x="20" y="2"/>
                </a:cxn>
                <a:cxn ang="0">
                  <a:pos x="21" y="1"/>
                </a:cxn>
                <a:cxn ang="0">
                  <a:pos x="22" y="1"/>
                </a:cxn>
                <a:cxn ang="0">
                  <a:pos x="23" y="2"/>
                </a:cxn>
                <a:cxn ang="0">
                  <a:pos x="22" y="4"/>
                </a:cxn>
                <a:cxn ang="0">
                  <a:pos x="22" y="5"/>
                </a:cxn>
                <a:cxn ang="0">
                  <a:pos x="23" y="13"/>
                </a:cxn>
                <a:cxn ang="0">
                  <a:pos x="24" y="17"/>
                </a:cxn>
                <a:cxn ang="0">
                  <a:pos x="25" y="14"/>
                </a:cxn>
                <a:cxn ang="0">
                  <a:pos x="29" y="0"/>
                </a:cxn>
                <a:cxn ang="0">
                  <a:pos x="31" y="1"/>
                </a:cxn>
                <a:cxn ang="0">
                  <a:pos x="40" y="4"/>
                </a:cxn>
                <a:cxn ang="0">
                  <a:pos x="46" y="28"/>
                </a:cxn>
                <a:cxn ang="0">
                  <a:pos x="45" y="44"/>
                </a:cxn>
                <a:cxn ang="0">
                  <a:pos x="45" y="44"/>
                </a:cxn>
                <a:cxn ang="0">
                  <a:pos x="42" y="48"/>
                </a:cxn>
                <a:cxn ang="0">
                  <a:pos x="42" y="48"/>
                </a:cxn>
                <a:cxn ang="0">
                  <a:pos x="38" y="44"/>
                </a:cxn>
                <a:cxn ang="0">
                  <a:pos x="38" y="44"/>
                </a:cxn>
                <a:cxn ang="0">
                  <a:pos x="39" y="28"/>
                </a:cxn>
                <a:cxn ang="0">
                  <a:pos x="36" y="13"/>
                </a:cxn>
                <a:cxn ang="0">
                  <a:pos x="34" y="12"/>
                </a:cxn>
                <a:cxn ang="0">
                  <a:pos x="34" y="42"/>
                </a:cxn>
                <a:cxn ang="0">
                  <a:pos x="34" y="44"/>
                </a:cxn>
                <a:cxn ang="0">
                  <a:pos x="34" y="89"/>
                </a:cxn>
                <a:cxn ang="0">
                  <a:pos x="29" y="94"/>
                </a:cxn>
              </a:cxnLst>
              <a:rect l="0" t="0" r="r" b="b"/>
              <a:pathLst>
                <a:path w="46" h="94">
                  <a:moveTo>
                    <a:pt x="29" y="94"/>
                  </a:moveTo>
                  <a:cubicBezTo>
                    <a:pt x="26" y="94"/>
                    <a:pt x="24" y="92"/>
                    <a:pt x="24" y="89"/>
                  </a:cubicBezTo>
                  <a:cubicBezTo>
                    <a:pt x="24" y="48"/>
                    <a:pt x="24" y="48"/>
                    <a:pt x="24" y="48"/>
                  </a:cubicBezTo>
                  <a:cubicBezTo>
                    <a:pt x="19" y="48"/>
                    <a:pt x="19" y="48"/>
                    <a:pt x="19" y="48"/>
                  </a:cubicBezTo>
                  <a:cubicBezTo>
                    <a:pt x="19" y="89"/>
                    <a:pt x="19" y="89"/>
                    <a:pt x="19" y="89"/>
                  </a:cubicBezTo>
                  <a:cubicBezTo>
                    <a:pt x="19" y="92"/>
                    <a:pt x="17" y="94"/>
                    <a:pt x="14" y="94"/>
                  </a:cubicBezTo>
                  <a:cubicBezTo>
                    <a:pt x="11" y="94"/>
                    <a:pt x="9" y="92"/>
                    <a:pt x="9" y="89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4"/>
                    <a:pt x="9" y="43"/>
                    <a:pt x="9" y="4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5" y="14"/>
                    <a:pt x="4" y="26"/>
                    <a:pt x="4" y="28"/>
                  </a:cubicBezTo>
                  <a:cubicBezTo>
                    <a:pt x="4" y="36"/>
                    <a:pt x="5" y="44"/>
                    <a:pt x="5" y="44"/>
                  </a:cubicBezTo>
                  <a:cubicBezTo>
                    <a:pt x="5" y="45"/>
                    <a:pt x="4" y="47"/>
                    <a:pt x="3" y="48"/>
                  </a:cubicBezTo>
                  <a:cubicBezTo>
                    <a:pt x="3" y="43"/>
                    <a:pt x="4" y="38"/>
                    <a:pt x="3" y="34"/>
                  </a:cubicBezTo>
                  <a:cubicBezTo>
                    <a:pt x="3" y="26"/>
                    <a:pt x="1" y="18"/>
                    <a:pt x="0" y="13"/>
                  </a:cubicBezTo>
                  <a:cubicBezTo>
                    <a:pt x="1" y="7"/>
                    <a:pt x="3" y="4"/>
                    <a:pt x="4" y="4"/>
                  </a:cubicBezTo>
                  <a:cubicBezTo>
                    <a:pt x="6" y="3"/>
                    <a:pt x="9" y="2"/>
                    <a:pt x="12" y="1"/>
                  </a:cubicBezTo>
                  <a:cubicBezTo>
                    <a:pt x="13" y="0"/>
                    <a:pt x="13" y="0"/>
                    <a:pt x="14" y="0"/>
                  </a:cubicBezTo>
                  <a:cubicBezTo>
                    <a:pt x="14" y="3"/>
                    <a:pt x="15" y="8"/>
                    <a:pt x="18" y="14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9"/>
                    <a:pt x="21" y="5"/>
                    <a:pt x="21" y="5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3" y="9"/>
                    <a:pt x="23" y="13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8" y="8"/>
                    <a:pt x="29" y="3"/>
                    <a:pt x="29" y="0"/>
                  </a:cubicBezTo>
                  <a:cubicBezTo>
                    <a:pt x="30" y="0"/>
                    <a:pt x="30" y="0"/>
                    <a:pt x="31" y="1"/>
                  </a:cubicBezTo>
                  <a:cubicBezTo>
                    <a:pt x="34" y="2"/>
                    <a:pt x="38" y="3"/>
                    <a:pt x="40" y="4"/>
                  </a:cubicBezTo>
                  <a:cubicBezTo>
                    <a:pt x="40" y="5"/>
                    <a:pt x="44" y="9"/>
                    <a:pt x="46" y="28"/>
                  </a:cubicBezTo>
                  <a:cubicBezTo>
                    <a:pt x="46" y="33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4" y="47"/>
                    <a:pt x="44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39" y="48"/>
                    <a:pt x="38" y="46"/>
                    <a:pt x="38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44"/>
                    <a:pt x="39" y="36"/>
                    <a:pt x="39" y="28"/>
                  </a:cubicBezTo>
                  <a:cubicBezTo>
                    <a:pt x="39" y="26"/>
                    <a:pt x="38" y="14"/>
                    <a:pt x="36" y="13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43"/>
                    <a:pt x="34" y="44"/>
                    <a:pt x="34" y="44"/>
                  </a:cubicBezTo>
                  <a:cubicBezTo>
                    <a:pt x="34" y="89"/>
                    <a:pt x="34" y="89"/>
                    <a:pt x="34" y="89"/>
                  </a:cubicBezTo>
                  <a:cubicBezTo>
                    <a:pt x="34" y="92"/>
                    <a:pt x="32" y="94"/>
                    <a:pt x="29" y="9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37"/>
            <p:cNvSpPr>
              <a:spLocks/>
            </p:cNvSpPr>
            <p:nvPr/>
          </p:nvSpPr>
          <p:spPr bwMode="auto">
            <a:xfrm>
              <a:off x="4254500" y="2335213"/>
              <a:ext cx="100013" cy="190500"/>
            </a:xfrm>
            <a:custGeom>
              <a:avLst/>
              <a:gdLst/>
              <a:ahLst/>
              <a:cxnLst>
                <a:cxn ang="0">
                  <a:pos x="23" y="126"/>
                </a:cxn>
                <a:cxn ang="0">
                  <a:pos x="16" y="120"/>
                </a:cxn>
                <a:cxn ang="0">
                  <a:pos x="16" y="60"/>
                </a:cxn>
                <a:cxn ang="0">
                  <a:pos x="15" y="56"/>
                </a:cxn>
                <a:cxn ang="0">
                  <a:pos x="15" y="17"/>
                </a:cxn>
                <a:cxn ang="0">
                  <a:pos x="14" y="18"/>
                </a:cxn>
                <a:cxn ang="0">
                  <a:pos x="14" y="18"/>
                </a:cxn>
                <a:cxn ang="0">
                  <a:pos x="10" y="38"/>
                </a:cxn>
                <a:cxn ang="0">
                  <a:pos x="10" y="60"/>
                </a:cxn>
                <a:cxn ang="0">
                  <a:pos x="9" y="64"/>
                </a:cxn>
                <a:cxn ang="0">
                  <a:pos x="6" y="65"/>
                </a:cxn>
                <a:cxn ang="0">
                  <a:pos x="6" y="65"/>
                </a:cxn>
                <a:cxn ang="0">
                  <a:pos x="1" y="60"/>
                </a:cxn>
                <a:cxn ang="0">
                  <a:pos x="1" y="59"/>
                </a:cxn>
                <a:cxn ang="0">
                  <a:pos x="0" y="38"/>
                </a:cxn>
                <a:cxn ang="0">
                  <a:pos x="9" y="6"/>
                </a:cxn>
                <a:cxn ang="0">
                  <a:pos x="20" y="1"/>
                </a:cxn>
                <a:cxn ang="0">
                  <a:pos x="23" y="0"/>
                </a:cxn>
                <a:cxn ang="0">
                  <a:pos x="28" y="19"/>
                </a:cxn>
                <a:cxn ang="0">
                  <a:pos x="30" y="22"/>
                </a:cxn>
                <a:cxn ang="0">
                  <a:pos x="30" y="18"/>
                </a:cxn>
                <a:cxn ang="0">
                  <a:pos x="32" y="7"/>
                </a:cxn>
                <a:cxn ang="0">
                  <a:pos x="32" y="6"/>
                </a:cxn>
                <a:cxn ang="0">
                  <a:pos x="30" y="3"/>
                </a:cxn>
                <a:cxn ang="0">
                  <a:pos x="32" y="2"/>
                </a:cxn>
                <a:cxn ang="0">
                  <a:pos x="33" y="2"/>
                </a:cxn>
                <a:cxn ang="0">
                  <a:pos x="35" y="3"/>
                </a:cxn>
                <a:cxn ang="0">
                  <a:pos x="33" y="6"/>
                </a:cxn>
                <a:cxn ang="0">
                  <a:pos x="34" y="7"/>
                </a:cxn>
                <a:cxn ang="0">
                  <a:pos x="35" y="18"/>
                </a:cxn>
                <a:cxn ang="0">
                  <a:pos x="36" y="22"/>
                </a:cxn>
                <a:cxn ang="0">
                  <a:pos x="37" y="19"/>
                </a:cxn>
                <a:cxn ang="0">
                  <a:pos x="43" y="0"/>
                </a:cxn>
                <a:cxn ang="0">
                  <a:pos x="45" y="1"/>
                </a:cxn>
                <a:cxn ang="0">
                  <a:pos x="57" y="6"/>
                </a:cxn>
                <a:cxn ang="0">
                  <a:pos x="65" y="38"/>
                </a:cxn>
                <a:cxn ang="0">
                  <a:pos x="64" y="59"/>
                </a:cxn>
                <a:cxn ang="0">
                  <a:pos x="64" y="60"/>
                </a:cxn>
                <a:cxn ang="0">
                  <a:pos x="60" y="65"/>
                </a:cxn>
                <a:cxn ang="0">
                  <a:pos x="60" y="65"/>
                </a:cxn>
                <a:cxn ang="0">
                  <a:pos x="55" y="60"/>
                </a:cxn>
                <a:cxn ang="0">
                  <a:pos x="56" y="38"/>
                </a:cxn>
                <a:cxn ang="0">
                  <a:pos x="52" y="18"/>
                </a:cxn>
                <a:cxn ang="0">
                  <a:pos x="52" y="18"/>
                </a:cxn>
                <a:cxn ang="0">
                  <a:pos x="50" y="17"/>
                </a:cxn>
                <a:cxn ang="0">
                  <a:pos x="50" y="56"/>
                </a:cxn>
                <a:cxn ang="0">
                  <a:pos x="50" y="60"/>
                </a:cxn>
                <a:cxn ang="0">
                  <a:pos x="50" y="120"/>
                </a:cxn>
                <a:cxn ang="0">
                  <a:pos x="43" y="126"/>
                </a:cxn>
                <a:cxn ang="0">
                  <a:pos x="43" y="126"/>
                </a:cxn>
                <a:cxn ang="0">
                  <a:pos x="42" y="126"/>
                </a:cxn>
                <a:cxn ang="0">
                  <a:pos x="36" y="120"/>
                </a:cxn>
                <a:cxn ang="0">
                  <a:pos x="36" y="65"/>
                </a:cxn>
                <a:cxn ang="0">
                  <a:pos x="30" y="65"/>
                </a:cxn>
                <a:cxn ang="0">
                  <a:pos x="30" y="120"/>
                </a:cxn>
                <a:cxn ang="0">
                  <a:pos x="23" y="126"/>
                </a:cxn>
              </a:cxnLst>
              <a:rect l="0" t="0" r="r" b="b"/>
              <a:pathLst>
                <a:path w="66" h="126">
                  <a:moveTo>
                    <a:pt x="23" y="126"/>
                  </a:moveTo>
                  <a:cubicBezTo>
                    <a:pt x="19" y="126"/>
                    <a:pt x="16" y="123"/>
                    <a:pt x="16" y="120"/>
                  </a:cubicBezTo>
                  <a:cubicBezTo>
                    <a:pt x="16" y="60"/>
                    <a:pt x="16" y="60"/>
                    <a:pt x="16" y="60"/>
                  </a:cubicBezTo>
                  <a:cubicBezTo>
                    <a:pt x="16" y="59"/>
                    <a:pt x="15" y="57"/>
                    <a:pt x="15" y="56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2" y="19"/>
                    <a:pt x="10" y="33"/>
                    <a:pt x="10" y="38"/>
                  </a:cubicBezTo>
                  <a:cubicBezTo>
                    <a:pt x="9" y="48"/>
                    <a:pt x="10" y="60"/>
                    <a:pt x="10" y="60"/>
                  </a:cubicBezTo>
                  <a:cubicBezTo>
                    <a:pt x="10" y="61"/>
                    <a:pt x="10" y="63"/>
                    <a:pt x="9" y="64"/>
                  </a:cubicBezTo>
                  <a:cubicBezTo>
                    <a:pt x="9" y="65"/>
                    <a:pt x="7" y="65"/>
                    <a:pt x="6" y="65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3" y="65"/>
                    <a:pt x="2" y="63"/>
                    <a:pt x="1" y="60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1" y="59"/>
                    <a:pt x="0" y="45"/>
                    <a:pt x="0" y="38"/>
                  </a:cubicBezTo>
                  <a:cubicBezTo>
                    <a:pt x="2" y="14"/>
                    <a:pt x="7" y="7"/>
                    <a:pt x="9" y="6"/>
                  </a:cubicBezTo>
                  <a:cubicBezTo>
                    <a:pt x="11" y="4"/>
                    <a:pt x="16" y="3"/>
                    <a:pt x="20" y="1"/>
                  </a:cubicBezTo>
                  <a:cubicBezTo>
                    <a:pt x="21" y="1"/>
                    <a:pt x="22" y="1"/>
                    <a:pt x="23" y="0"/>
                  </a:cubicBezTo>
                  <a:cubicBezTo>
                    <a:pt x="23" y="4"/>
                    <a:pt x="24" y="11"/>
                    <a:pt x="28" y="19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1" y="13"/>
                    <a:pt x="32" y="7"/>
                    <a:pt x="32" y="7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3" y="6"/>
                    <a:pt x="33" y="6"/>
                    <a:pt x="33" y="6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4" y="8"/>
                    <a:pt x="35" y="13"/>
                    <a:pt x="35" y="18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41" y="11"/>
                    <a:pt x="42" y="4"/>
                    <a:pt x="43" y="0"/>
                  </a:cubicBezTo>
                  <a:cubicBezTo>
                    <a:pt x="44" y="1"/>
                    <a:pt x="44" y="1"/>
                    <a:pt x="45" y="1"/>
                  </a:cubicBezTo>
                  <a:cubicBezTo>
                    <a:pt x="49" y="3"/>
                    <a:pt x="54" y="4"/>
                    <a:pt x="57" y="6"/>
                  </a:cubicBezTo>
                  <a:cubicBezTo>
                    <a:pt x="58" y="7"/>
                    <a:pt x="63" y="13"/>
                    <a:pt x="65" y="38"/>
                  </a:cubicBezTo>
                  <a:cubicBezTo>
                    <a:pt x="66" y="45"/>
                    <a:pt x="64" y="59"/>
                    <a:pt x="64" y="59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3" y="63"/>
                    <a:pt x="63" y="65"/>
                    <a:pt x="60" y="65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55" y="65"/>
                    <a:pt x="55" y="61"/>
                    <a:pt x="55" y="60"/>
                  </a:cubicBezTo>
                  <a:cubicBezTo>
                    <a:pt x="55" y="60"/>
                    <a:pt x="56" y="48"/>
                    <a:pt x="56" y="38"/>
                  </a:cubicBezTo>
                  <a:cubicBezTo>
                    <a:pt x="55" y="34"/>
                    <a:pt x="54" y="20"/>
                    <a:pt x="52" y="18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57"/>
                    <a:pt x="50" y="59"/>
                    <a:pt x="50" y="60"/>
                  </a:cubicBezTo>
                  <a:cubicBezTo>
                    <a:pt x="50" y="120"/>
                    <a:pt x="50" y="120"/>
                    <a:pt x="50" y="120"/>
                  </a:cubicBezTo>
                  <a:cubicBezTo>
                    <a:pt x="50" y="123"/>
                    <a:pt x="47" y="126"/>
                    <a:pt x="43" y="126"/>
                  </a:cubicBezTo>
                  <a:cubicBezTo>
                    <a:pt x="43" y="126"/>
                    <a:pt x="43" y="126"/>
                    <a:pt x="43" y="126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39" y="126"/>
                    <a:pt x="36" y="123"/>
                    <a:pt x="36" y="120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30" y="123"/>
                    <a:pt x="27" y="126"/>
                    <a:pt x="23" y="12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8"/>
            <p:cNvSpPr>
              <a:spLocks/>
            </p:cNvSpPr>
            <p:nvPr/>
          </p:nvSpPr>
          <p:spPr bwMode="auto">
            <a:xfrm>
              <a:off x="4281488" y="2278063"/>
              <a:ext cx="46038" cy="50800"/>
            </a:xfrm>
            <a:custGeom>
              <a:avLst/>
              <a:gdLst/>
              <a:ahLst/>
              <a:cxnLst>
                <a:cxn ang="0">
                  <a:pos x="16" y="34"/>
                </a:cxn>
                <a:cxn ang="0">
                  <a:pos x="4" y="22"/>
                </a:cxn>
                <a:cxn ang="0">
                  <a:pos x="4" y="22"/>
                </a:cxn>
                <a:cxn ang="0">
                  <a:pos x="3" y="21"/>
                </a:cxn>
                <a:cxn ang="0">
                  <a:pos x="1" y="17"/>
                </a:cxn>
                <a:cxn ang="0">
                  <a:pos x="2" y="15"/>
                </a:cxn>
                <a:cxn ang="0">
                  <a:pos x="3" y="15"/>
                </a:cxn>
                <a:cxn ang="0">
                  <a:pos x="3" y="14"/>
                </a:cxn>
                <a:cxn ang="0">
                  <a:pos x="16" y="0"/>
                </a:cxn>
                <a:cxn ang="0">
                  <a:pos x="29" y="14"/>
                </a:cxn>
                <a:cxn ang="0">
                  <a:pos x="29" y="15"/>
                </a:cxn>
                <a:cxn ang="0">
                  <a:pos x="30" y="15"/>
                </a:cxn>
                <a:cxn ang="0">
                  <a:pos x="31" y="17"/>
                </a:cxn>
                <a:cxn ang="0">
                  <a:pos x="29" y="21"/>
                </a:cxn>
                <a:cxn ang="0">
                  <a:pos x="28" y="22"/>
                </a:cxn>
                <a:cxn ang="0">
                  <a:pos x="28" y="22"/>
                </a:cxn>
                <a:cxn ang="0">
                  <a:pos x="16" y="34"/>
                </a:cxn>
              </a:cxnLst>
              <a:rect l="0" t="0" r="r" b="b"/>
              <a:pathLst>
                <a:path w="31" h="34">
                  <a:moveTo>
                    <a:pt x="16" y="34"/>
                  </a:moveTo>
                  <a:cubicBezTo>
                    <a:pt x="8" y="34"/>
                    <a:pt x="5" y="25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1" y="21"/>
                    <a:pt x="0" y="18"/>
                    <a:pt x="1" y="17"/>
                  </a:cubicBezTo>
                  <a:cubicBezTo>
                    <a:pt x="1" y="16"/>
                    <a:pt x="1" y="15"/>
                    <a:pt x="2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6"/>
                    <a:pt x="9" y="0"/>
                    <a:pt x="16" y="0"/>
                  </a:cubicBezTo>
                  <a:cubicBezTo>
                    <a:pt x="23" y="0"/>
                    <a:pt x="28" y="6"/>
                    <a:pt x="29" y="14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5"/>
                    <a:pt x="31" y="16"/>
                    <a:pt x="31" y="17"/>
                  </a:cubicBezTo>
                  <a:cubicBezTo>
                    <a:pt x="31" y="18"/>
                    <a:pt x="30" y="21"/>
                    <a:pt x="29" y="2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7" y="25"/>
                    <a:pt x="24" y="34"/>
                    <a:pt x="16" y="3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9"/>
            <p:cNvSpPr>
              <a:spLocks/>
            </p:cNvSpPr>
            <p:nvPr/>
          </p:nvSpPr>
          <p:spPr bwMode="auto">
            <a:xfrm>
              <a:off x="4338638" y="2452688"/>
              <a:ext cx="23813" cy="11113"/>
            </a:xfrm>
            <a:custGeom>
              <a:avLst/>
              <a:gdLst/>
              <a:ahLst/>
              <a:cxnLst>
                <a:cxn ang="0">
                  <a:pos x="8" y="5"/>
                </a:cxn>
                <a:cxn ang="0">
                  <a:pos x="7" y="4"/>
                </a:cxn>
                <a:cxn ang="0">
                  <a:pos x="0" y="3"/>
                </a:cxn>
                <a:cxn ang="0">
                  <a:pos x="0" y="1"/>
                </a:cxn>
                <a:cxn ang="0">
                  <a:pos x="9" y="2"/>
                </a:cxn>
                <a:cxn ang="0">
                  <a:pos x="10" y="2"/>
                </a:cxn>
                <a:cxn ang="0">
                  <a:pos x="10" y="0"/>
                </a:cxn>
                <a:cxn ang="0">
                  <a:pos x="16" y="4"/>
                </a:cxn>
                <a:cxn ang="0">
                  <a:pos x="8" y="7"/>
                </a:cxn>
                <a:cxn ang="0">
                  <a:pos x="8" y="5"/>
                </a:cxn>
              </a:cxnLst>
              <a:rect l="0" t="0" r="r" b="b"/>
              <a:pathLst>
                <a:path w="16" h="7">
                  <a:moveTo>
                    <a:pt x="8" y="5"/>
                  </a:moveTo>
                  <a:cubicBezTo>
                    <a:pt x="7" y="4"/>
                    <a:pt x="7" y="4"/>
                    <a:pt x="7" y="4"/>
                  </a:cubicBezTo>
                  <a:cubicBezTo>
                    <a:pt x="5" y="4"/>
                    <a:pt x="2" y="4"/>
                    <a:pt x="0" y="3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3" y="1"/>
                    <a:pt x="6" y="1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8" y="7"/>
                    <a:pt x="8" y="7"/>
                    <a:pt x="8" y="7"/>
                  </a:cubicBezTo>
                  <a:lnTo>
                    <a:pt x="8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40"/>
            <p:cNvSpPr>
              <a:spLocks/>
            </p:cNvSpPr>
            <p:nvPr/>
          </p:nvSpPr>
          <p:spPr bwMode="auto">
            <a:xfrm>
              <a:off x="4216400" y="2525713"/>
              <a:ext cx="142875" cy="28575"/>
            </a:xfrm>
            <a:custGeom>
              <a:avLst/>
              <a:gdLst/>
              <a:ahLst/>
              <a:cxnLst>
                <a:cxn ang="0">
                  <a:pos x="59" y="19"/>
                </a:cxn>
                <a:cxn ang="0">
                  <a:pos x="22" y="16"/>
                </a:cxn>
                <a:cxn ang="0">
                  <a:pos x="14" y="14"/>
                </a:cxn>
                <a:cxn ang="0">
                  <a:pos x="14" y="14"/>
                </a:cxn>
                <a:cxn ang="0">
                  <a:pos x="9" y="18"/>
                </a:cxn>
                <a:cxn ang="0">
                  <a:pos x="0" y="3"/>
                </a:cxn>
                <a:cxn ang="0">
                  <a:pos x="27" y="0"/>
                </a:cxn>
                <a:cxn ang="0">
                  <a:pos x="23" y="5"/>
                </a:cxn>
                <a:cxn ang="0">
                  <a:pos x="24" y="5"/>
                </a:cxn>
                <a:cxn ang="0">
                  <a:pos x="28" y="6"/>
                </a:cxn>
                <a:cxn ang="0">
                  <a:pos x="59" y="9"/>
                </a:cxn>
                <a:cxn ang="0">
                  <a:pos x="91" y="6"/>
                </a:cxn>
                <a:cxn ang="0">
                  <a:pos x="88" y="14"/>
                </a:cxn>
                <a:cxn ang="0">
                  <a:pos x="95" y="16"/>
                </a:cxn>
                <a:cxn ang="0">
                  <a:pos x="91" y="16"/>
                </a:cxn>
                <a:cxn ang="0">
                  <a:pos x="59" y="19"/>
                </a:cxn>
              </a:cxnLst>
              <a:rect l="0" t="0" r="r" b="b"/>
              <a:pathLst>
                <a:path w="95" h="19">
                  <a:moveTo>
                    <a:pt x="59" y="19"/>
                  </a:moveTo>
                  <a:cubicBezTo>
                    <a:pt x="46" y="19"/>
                    <a:pt x="34" y="18"/>
                    <a:pt x="22" y="16"/>
                  </a:cubicBezTo>
                  <a:cubicBezTo>
                    <a:pt x="20" y="15"/>
                    <a:pt x="17" y="15"/>
                    <a:pt x="14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6" y="5"/>
                    <a:pt x="27" y="6"/>
                    <a:pt x="28" y="6"/>
                  </a:cubicBezTo>
                  <a:cubicBezTo>
                    <a:pt x="38" y="8"/>
                    <a:pt x="48" y="9"/>
                    <a:pt x="59" y="9"/>
                  </a:cubicBezTo>
                  <a:cubicBezTo>
                    <a:pt x="70" y="9"/>
                    <a:pt x="80" y="8"/>
                    <a:pt x="91" y="6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95" y="16"/>
                    <a:pt x="95" y="16"/>
                    <a:pt x="95" y="16"/>
                  </a:cubicBezTo>
                  <a:cubicBezTo>
                    <a:pt x="94" y="16"/>
                    <a:pt x="92" y="16"/>
                    <a:pt x="91" y="16"/>
                  </a:cubicBezTo>
                  <a:cubicBezTo>
                    <a:pt x="81" y="18"/>
                    <a:pt x="70" y="19"/>
                    <a:pt x="59" y="19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41"/>
            <p:cNvSpPr>
              <a:spLocks/>
            </p:cNvSpPr>
            <p:nvPr/>
          </p:nvSpPr>
          <p:spPr bwMode="auto">
            <a:xfrm>
              <a:off x="4175125" y="2474913"/>
              <a:ext cx="38100" cy="61913"/>
            </a:xfrm>
            <a:custGeom>
              <a:avLst/>
              <a:gdLst/>
              <a:ahLst/>
              <a:cxnLst>
                <a:cxn ang="0">
                  <a:pos x="20" y="41"/>
                </a:cxn>
                <a:cxn ang="0">
                  <a:pos x="7" y="33"/>
                </a:cxn>
                <a:cxn ang="0">
                  <a:pos x="2" y="27"/>
                </a:cxn>
                <a:cxn ang="0">
                  <a:pos x="0" y="19"/>
                </a:cxn>
                <a:cxn ang="0">
                  <a:pos x="2" y="10"/>
                </a:cxn>
                <a:cxn ang="0">
                  <a:pos x="10" y="3"/>
                </a:cxn>
                <a:cxn ang="0">
                  <a:pos x="13" y="0"/>
                </a:cxn>
                <a:cxn ang="0">
                  <a:pos x="16" y="7"/>
                </a:cxn>
                <a:cxn ang="0">
                  <a:pos x="15" y="8"/>
                </a:cxn>
                <a:cxn ang="0">
                  <a:pos x="12" y="12"/>
                </a:cxn>
                <a:cxn ang="0">
                  <a:pos x="12" y="15"/>
                </a:cxn>
                <a:cxn ang="0">
                  <a:pos x="13" y="19"/>
                </a:cxn>
                <a:cxn ang="0">
                  <a:pos x="17" y="24"/>
                </a:cxn>
                <a:cxn ang="0">
                  <a:pos x="25" y="30"/>
                </a:cxn>
                <a:cxn ang="0">
                  <a:pos x="17" y="31"/>
                </a:cxn>
                <a:cxn ang="0">
                  <a:pos x="20" y="41"/>
                </a:cxn>
              </a:cxnLst>
              <a:rect l="0" t="0" r="r" b="b"/>
              <a:pathLst>
                <a:path w="25" h="41">
                  <a:moveTo>
                    <a:pt x="20" y="41"/>
                  </a:moveTo>
                  <a:cubicBezTo>
                    <a:pt x="15" y="39"/>
                    <a:pt x="10" y="36"/>
                    <a:pt x="7" y="33"/>
                  </a:cubicBezTo>
                  <a:cubicBezTo>
                    <a:pt x="5" y="31"/>
                    <a:pt x="3" y="29"/>
                    <a:pt x="2" y="27"/>
                  </a:cubicBezTo>
                  <a:cubicBezTo>
                    <a:pt x="0" y="25"/>
                    <a:pt x="0" y="22"/>
                    <a:pt x="0" y="19"/>
                  </a:cubicBezTo>
                  <a:cubicBezTo>
                    <a:pt x="0" y="16"/>
                    <a:pt x="1" y="13"/>
                    <a:pt x="2" y="10"/>
                  </a:cubicBezTo>
                  <a:cubicBezTo>
                    <a:pt x="4" y="7"/>
                    <a:pt x="7" y="5"/>
                    <a:pt x="10" y="3"/>
                  </a:cubicBezTo>
                  <a:cubicBezTo>
                    <a:pt x="11" y="2"/>
                    <a:pt x="12" y="1"/>
                    <a:pt x="13" y="0"/>
                  </a:cubicBezTo>
                  <a:cubicBezTo>
                    <a:pt x="13" y="3"/>
                    <a:pt x="14" y="5"/>
                    <a:pt x="16" y="7"/>
                  </a:cubicBezTo>
                  <a:cubicBezTo>
                    <a:pt x="16" y="7"/>
                    <a:pt x="15" y="8"/>
                    <a:pt x="15" y="8"/>
                  </a:cubicBezTo>
                  <a:cubicBezTo>
                    <a:pt x="14" y="9"/>
                    <a:pt x="13" y="10"/>
                    <a:pt x="12" y="12"/>
                  </a:cubicBezTo>
                  <a:cubicBezTo>
                    <a:pt x="12" y="13"/>
                    <a:pt x="12" y="14"/>
                    <a:pt x="12" y="15"/>
                  </a:cubicBezTo>
                  <a:cubicBezTo>
                    <a:pt x="12" y="17"/>
                    <a:pt x="12" y="18"/>
                    <a:pt x="13" y="19"/>
                  </a:cubicBezTo>
                  <a:cubicBezTo>
                    <a:pt x="14" y="21"/>
                    <a:pt x="15" y="23"/>
                    <a:pt x="17" y="24"/>
                  </a:cubicBezTo>
                  <a:cubicBezTo>
                    <a:pt x="19" y="26"/>
                    <a:pt x="22" y="28"/>
                    <a:pt x="25" y="30"/>
                  </a:cubicBezTo>
                  <a:cubicBezTo>
                    <a:pt x="17" y="31"/>
                    <a:pt x="17" y="31"/>
                    <a:pt x="17" y="31"/>
                  </a:cubicBezTo>
                  <a:lnTo>
                    <a:pt x="20" y="4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2"/>
            <p:cNvSpPr>
              <a:spLocks/>
            </p:cNvSpPr>
            <p:nvPr/>
          </p:nvSpPr>
          <p:spPr bwMode="auto">
            <a:xfrm>
              <a:off x="4365625" y="2474913"/>
              <a:ext cx="69850" cy="68263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4" y="29"/>
                </a:cxn>
                <a:cxn ang="0">
                  <a:pos x="12" y="34"/>
                </a:cxn>
                <a:cxn ang="0">
                  <a:pos x="13" y="34"/>
                </a:cxn>
                <a:cxn ang="0">
                  <a:pos x="20" y="30"/>
                </a:cxn>
                <a:cxn ang="0">
                  <a:pos x="30" y="23"/>
                </a:cxn>
                <a:cxn ang="0">
                  <a:pos x="33" y="19"/>
                </a:cxn>
                <a:cxn ang="0">
                  <a:pos x="34" y="15"/>
                </a:cxn>
                <a:cxn ang="0">
                  <a:pos x="33" y="11"/>
                </a:cxn>
                <a:cxn ang="0">
                  <a:pos x="29" y="7"/>
                </a:cxn>
                <a:cxn ang="0">
                  <a:pos x="32" y="0"/>
                </a:cxn>
                <a:cxn ang="0">
                  <a:pos x="38" y="5"/>
                </a:cxn>
                <a:cxn ang="0">
                  <a:pos x="44" y="11"/>
                </a:cxn>
                <a:cxn ang="0">
                  <a:pos x="46" y="19"/>
                </a:cxn>
                <a:cxn ang="0">
                  <a:pos x="43" y="28"/>
                </a:cxn>
                <a:cxn ang="0">
                  <a:pos x="36" y="35"/>
                </a:cxn>
                <a:cxn ang="0">
                  <a:pos x="27" y="41"/>
                </a:cxn>
                <a:cxn ang="0">
                  <a:pos x="25" y="41"/>
                </a:cxn>
                <a:cxn ang="0">
                  <a:pos x="31" y="45"/>
                </a:cxn>
                <a:cxn ang="0">
                  <a:pos x="0" y="43"/>
                </a:cxn>
              </a:cxnLst>
              <a:rect l="0" t="0" r="r" b="b"/>
              <a:pathLst>
                <a:path w="46" h="45">
                  <a:moveTo>
                    <a:pt x="0" y="43"/>
                  </a:moveTo>
                  <a:cubicBezTo>
                    <a:pt x="4" y="29"/>
                    <a:pt x="4" y="29"/>
                    <a:pt x="4" y="29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6" y="32"/>
                    <a:pt x="18" y="31"/>
                    <a:pt x="20" y="30"/>
                  </a:cubicBezTo>
                  <a:cubicBezTo>
                    <a:pt x="25" y="28"/>
                    <a:pt x="28" y="25"/>
                    <a:pt x="30" y="23"/>
                  </a:cubicBezTo>
                  <a:cubicBezTo>
                    <a:pt x="31" y="21"/>
                    <a:pt x="32" y="20"/>
                    <a:pt x="33" y="19"/>
                  </a:cubicBezTo>
                  <a:cubicBezTo>
                    <a:pt x="33" y="18"/>
                    <a:pt x="34" y="16"/>
                    <a:pt x="34" y="15"/>
                  </a:cubicBezTo>
                  <a:cubicBezTo>
                    <a:pt x="34" y="14"/>
                    <a:pt x="33" y="13"/>
                    <a:pt x="33" y="11"/>
                  </a:cubicBezTo>
                  <a:cubicBezTo>
                    <a:pt x="32" y="10"/>
                    <a:pt x="31" y="8"/>
                    <a:pt x="29" y="7"/>
                  </a:cubicBezTo>
                  <a:cubicBezTo>
                    <a:pt x="31" y="5"/>
                    <a:pt x="32" y="3"/>
                    <a:pt x="32" y="0"/>
                  </a:cubicBezTo>
                  <a:cubicBezTo>
                    <a:pt x="35" y="2"/>
                    <a:pt x="37" y="3"/>
                    <a:pt x="38" y="5"/>
                  </a:cubicBezTo>
                  <a:cubicBezTo>
                    <a:pt x="41" y="7"/>
                    <a:pt x="42" y="9"/>
                    <a:pt x="44" y="11"/>
                  </a:cubicBezTo>
                  <a:cubicBezTo>
                    <a:pt x="45" y="13"/>
                    <a:pt x="46" y="16"/>
                    <a:pt x="46" y="19"/>
                  </a:cubicBezTo>
                  <a:cubicBezTo>
                    <a:pt x="46" y="22"/>
                    <a:pt x="45" y="25"/>
                    <a:pt x="43" y="28"/>
                  </a:cubicBezTo>
                  <a:cubicBezTo>
                    <a:pt x="41" y="31"/>
                    <a:pt x="39" y="33"/>
                    <a:pt x="36" y="35"/>
                  </a:cubicBezTo>
                  <a:cubicBezTo>
                    <a:pt x="33" y="37"/>
                    <a:pt x="30" y="39"/>
                    <a:pt x="27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31" y="45"/>
                    <a:pt x="31" y="45"/>
                    <a:pt x="31" y="45"/>
                  </a:cubicBezTo>
                  <a:lnTo>
                    <a:pt x="0" y="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3"/>
            <p:cNvSpPr>
              <a:spLocks/>
            </p:cNvSpPr>
            <p:nvPr/>
          </p:nvSpPr>
          <p:spPr bwMode="auto">
            <a:xfrm>
              <a:off x="4246563" y="2452688"/>
              <a:ext cx="25400" cy="12700"/>
            </a:xfrm>
            <a:custGeom>
              <a:avLst/>
              <a:gdLst/>
              <a:ahLst/>
              <a:cxnLst>
                <a:cxn ang="0">
                  <a:pos x="8" y="5"/>
                </a:cxn>
                <a:cxn ang="0">
                  <a:pos x="7" y="5"/>
                </a:cxn>
                <a:cxn ang="0">
                  <a:pos x="4" y="5"/>
                </a:cxn>
                <a:cxn ang="0">
                  <a:pos x="0" y="6"/>
                </a:cxn>
                <a:cxn ang="0">
                  <a:pos x="0" y="3"/>
                </a:cxn>
                <a:cxn ang="0">
                  <a:pos x="4" y="2"/>
                </a:cxn>
                <a:cxn ang="0">
                  <a:pos x="5" y="2"/>
                </a:cxn>
                <a:cxn ang="0">
                  <a:pos x="3" y="0"/>
                </a:cxn>
                <a:cxn ang="0">
                  <a:pos x="17" y="2"/>
                </a:cxn>
                <a:cxn ang="0">
                  <a:pos x="11" y="8"/>
                </a:cxn>
                <a:cxn ang="0">
                  <a:pos x="8" y="5"/>
                </a:cxn>
              </a:cxnLst>
              <a:rect l="0" t="0" r="r" b="b"/>
              <a:pathLst>
                <a:path w="17" h="8">
                  <a:moveTo>
                    <a:pt x="8" y="5"/>
                  </a:moveTo>
                  <a:cubicBezTo>
                    <a:pt x="7" y="5"/>
                    <a:pt x="7" y="5"/>
                    <a:pt x="7" y="5"/>
                  </a:cubicBezTo>
                  <a:cubicBezTo>
                    <a:pt x="6" y="5"/>
                    <a:pt x="5" y="5"/>
                    <a:pt x="4" y="5"/>
                  </a:cubicBezTo>
                  <a:cubicBezTo>
                    <a:pt x="2" y="6"/>
                    <a:pt x="1" y="6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2" y="2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8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7" name="Rectangle 36"/>
          <p:cNvSpPr/>
          <p:nvPr/>
        </p:nvSpPr>
        <p:spPr>
          <a:xfrm>
            <a:off x="1337462" y="2689680"/>
            <a:ext cx="7541223" cy="784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Content Placeholder 2"/>
          <p:cNvSpPr txBox="1">
            <a:spLocks/>
          </p:cNvSpPr>
          <p:nvPr/>
        </p:nvSpPr>
        <p:spPr>
          <a:xfrm>
            <a:off x="944482" y="2419439"/>
            <a:ext cx="6583443" cy="870946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lvl="1" indent="0">
              <a:buFont typeface="Arial"/>
              <a:buNone/>
            </a:pPr>
            <a:r>
              <a:rPr lang="en-US" sz="1400" dirty="0" smtClean="0">
                <a:latin typeface="+mn-lt"/>
              </a:rPr>
              <a:t>Addresses mission and objectives, roles and responsibilities, and team operations.</a:t>
            </a:r>
            <a:endParaRPr lang="en-US" sz="1400" dirty="0">
              <a:latin typeface="+mn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349323" y="2314145"/>
            <a:ext cx="334068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defTabSz="914400">
              <a:spcBef>
                <a:spcPct val="20000"/>
              </a:spcBef>
              <a:defRPr/>
            </a:pPr>
            <a:r>
              <a:rPr lang="en-US" sz="2400" b="1" dirty="0" smtClean="0">
                <a:solidFill>
                  <a:schemeClr val="accent2"/>
                </a:solidFill>
              </a:rPr>
              <a:t>TEAM CHARTER</a:t>
            </a:r>
            <a:endParaRPr lang="en-US" sz="1600" dirty="0">
              <a:solidFill>
                <a:schemeClr val="accent2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901438" y="2768147"/>
            <a:ext cx="1966976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lvl="0" algn="r" defTabSz="914400">
              <a:defRPr/>
            </a:pPr>
            <a:r>
              <a:rPr lang="en-US" sz="1200" b="1" dirty="0" smtClean="0">
                <a:solidFill>
                  <a:schemeClr val="accent2"/>
                </a:solidFill>
              </a:rPr>
              <a:t>Lead: Jaya Bajpayee</a:t>
            </a:r>
          </a:p>
          <a:p>
            <a:pPr lvl="0" algn="r" defTabSz="914400">
              <a:defRPr/>
            </a:pPr>
            <a:r>
              <a:rPr lang="en-US" sz="1200" dirty="0" smtClean="0">
                <a:solidFill>
                  <a:schemeClr val="accent2"/>
                </a:solidFill>
              </a:rPr>
              <a:t>LaShonda Jacobs Terry</a:t>
            </a:r>
          </a:p>
          <a:p>
            <a:pPr lvl="0" algn="r" defTabSz="914400">
              <a:defRPr/>
            </a:pPr>
            <a:r>
              <a:rPr lang="en-US" sz="1200" dirty="0" smtClean="0">
                <a:solidFill>
                  <a:schemeClr val="accent2"/>
                </a:solidFill>
              </a:rPr>
              <a:t>Dawn Pottinger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372298" y="3970475"/>
            <a:ext cx="7541223" cy="784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2" name="Content Placeholder 2"/>
          <p:cNvSpPr txBox="1">
            <a:spLocks/>
          </p:cNvSpPr>
          <p:nvPr/>
        </p:nvSpPr>
        <p:spPr>
          <a:xfrm>
            <a:off x="983690" y="3690315"/>
            <a:ext cx="6572810" cy="1663580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400" dirty="0" smtClean="0">
                <a:latin typeface="+mn-lt"/>
              </a:rPr>
              <a:t>Defines to whom, what type, when, and how information will be disbursed. </a:t>
            </a:r>
            <a:endParaRPr lang="en-US" sz="800" dirty="0" smtClean="0">
              <a:latin typeface="+mn-lt"/>
            </a:endParaRPr>
          </a:p>
          <a:p>
            <a:pPr marL="400050" lvl="1" indent="0">
              <a:buNone/>
            </a:pPr>
            <a:r>
              <a:rPr lang="en-US" sz="1400" dirty="0" smtClean="0">
                <a:latin typeface="+mn-lt"/>
              </a:rPr>
              <a:t>Establishes the frequency for providing internal updates to the team members about the progress, establish a timetable, and evaluate the results. Implement a plan to ensure issues and concerns are raised in a timely manner.</a:t>
            </a:r>
            <a:endParaRPr lang="en-US" sz="1400" dirty="0">
              <a:latin typeface="+mn-lt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479268" y="3391493"/>
            <a:ext cx="804409" cy="804409"/>
            <a:chOff x="1112938" y="2324100"/>
            <a:chExt cx="804409" cy="804409"/>
          </a:xfrm>
        </p:grpSpPr>
        <p:sp>
          <p:nvSpPr>
            <p:cNvPr id="44" name="Oval 43"/>
            <p:cNvSpPr/>
            <p:nvPr/>
          </p:nvSpPr>
          <p:spPr bwMode="auto">
            <a:xfrm>
              <a:off x="1112938" y="2324100"/>
              <a:ext cx="804409" cy="804409"/>
            </a:xfrm>
            <a:prstGeom prst="ellipse">
              <a:avLst/>
            </a:prstGeom>
            <a:noFill/>
            <a:ln w="285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45" name="Oval 44"/>
            <p:cNvSpPr/>
            <p:nvPr/>
          </p:nvSpPr>
          <p:spPr bwMode="auto">
            <a:xfrm>
              <a:off x="1213489" y="2424651"/>
              <a:ext cx="603307" cy="603307"/>
            </a:xfrm>
            <a:prstGeom prst="ellipse">
              <a:avLst/>
            </a:prstGeom>
            <a:solidFill>
              <a:schemeClr val="accent6"/>
            </a:solidFill>
            <a:ln w="28575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1375519" y="3594940"/>
            <a:ext cx="3331904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en-US" sz="2400" b="1" dirty="0" smtClean="0">
                <a:solidFill>
                  <a:schemeClr val="accent6"/>
                </a:solidFill>
              </a:rPr>
              <a:t>COMMUNICATIONS PLAN</a:t>
            </a:r>
            <a:endParaRPr lang="en-US" sz="1600" dirty="0">
              <a:solidFill>
                <a:schemeClr val="accent6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927565" y="4048942"/>
            <a:ext cx="1966976" cy="5539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defTabSz="914400">
              <a:defRPr/>
            </a:pPr>
            <a:r>
              <a:rPr lang="en-US" sz="1200" b="1" dirty="0" smtClean="0">
                <a:solidFill>
                  <a:schemeClr val="accent6"/>
                </a:solidFill>
              </a:rPr>
              <a:t>Lead: Kathy </a:t>
            </a:r>
            <a:r>
              <a:rPr lang="en-US" sz="1200" b="1" dirty="0" err="1" smtClean="0">
                <a:solidFill>
                  <a:schemeClr val="accent6"/>
                </a:solidFill>
              </a:rPr>
              <a:t>Nado</a:t>
            </a:r>
            <a:endParaRPr lang="en-US" sz="1200" b="1" dirty="0" smtClean="0">
              <a:solidFill>
                <a:schemeClr val="accent6"/>
              </a:solidFill>
            </a:endParaRPr>
          </a:p>
          <a:p>
            <a:pPr algn="r" defTabSz="914400">
              <a:defRPr/>
            </a:pPr>
            <a:r>
              <a:rPr lang="en-US" sz="1200" dirty="0" smtClean="0">
                <a:solidFill>
                  <a:schemeClr val="accent6"/>
                </a:solidFill>
              </a:rPr>
              <a:t>Jill Willard</a:t>
            </a:r>
          </a:p>
          <a:p>
            <a:pPr algn="r" defTabSz="914400">
              <a:defRPr/>
            </a:pPr>
            <a:r>
              <a:rPr lang="en-US" sz="1200" dirty="0" smtClean="0">
                <a:solidFill>
                  <a:schemeClr val="accent6"/>
                </a:solidFill>
              </a:rPr>
              <a:t>Rick McCarthy</a:t>
            </a:r>
          </a:p>
        </p:txBody>
      </p:sp>
      <p:sp>
        <p:nvSpPr>
          <p:cNvPr id="48" name="Freeform 60"/>
          <p:cNvSpPr>
            <a:spLocks noChangeAspect="1" noEditPoints="1"/>
          </p:cNvSpPr>
          <p:nvPr/>
        </p:nvSpPr>
        <p:spPr bwMode="auto">
          <a:xfrm>
            <a:off x="671073" y="3614525"/>
            <a:ext cx="420625" cy="335280"/>
          </a:xfrm>
          <a:custGeom>
            <a:avLst/>
            <a:gdLst/>
            <a:ahLst/>
            <a:cxnLst>
              <a:cxn ang="0">
                <a:pos x="50" y="19"/>
              </a:cxn>
              <a:cxn ang="0">
                <a:pos x="25" y="37"/>
              </a:cxn>
              <a:cxn ang="0">
                <a:pos x="19" y="36"/>
              </a:cxn>
              <a:cxn ang="0">
                <a:pos x="9" y="41"/>
              </a:cxn>
              <a:cxn ang="0">
                <a:pos x="6" y="42"/>
              </a:cxn>
              <a:cxn ang="0">
                <a:pos x="6" y="42"/>
              </a:cxn>
              <a:cxn ang="0">
                <a:pos x="4" y="41"/>
              </a:cxn>
              <a:cxn ang="0">
                <a:pos x="5" y="39"/>
              </a:cxn>
              <a:cxn ang="0">
                <a:pos x="9" y="33"/>
              </a:cxn>
              <a:cxn ang="0">
                <a:pos x="0" y="19"/>
              </a:cxn>
              <a:cxn ang="0">
                <a:pos x="25" y="0"/>
              </a:cxn>
              <a:cxn ang="0">
                <a:pos x="50" y="19"/>
              </a:cxn>
              <a:cxn ang="0">
                <a:pos x="4" y="19"/>
              </a:cxn>
              <a:cxn ang="0">
                <a:pos x="12" y="29"/>
              </a:cxn>
              <a:cxn ang="0">
                <a:pos x="15" y="31"/>
              </a:cxn>
              <a:cxn ang="0">
                <a:pos x="14" y="34"/>
              </a:cxn>
              <a:cxn ang="0">
                <a:pos x="16" y="33"/>
              </a:cxn>
              <a:cxn ang="0">
                <a:pos x="18" y="32"/>
              </a:cxn>
              <a:cxn ang="0">
                <a:pos x="19" y="32"/>
              </a:cxn>
              <a:cxn ang="0">
                <a:pos x="25" y="32"/>
              </a:cxn>
              <a:cxn ang="0">
                <a:pos x="45" y="19"/>
              </a:cxn>
              <a:cxn ang="0">
                <a:pos x="25" y="5"/>
              </a:cxn>
              <a:cxn ang="0">
                <a:pos x="4" y="19"/>
              </a:cxn>
              <a:cxn ang="0">
                <a:pos x="58" y="48"/>
              </a:cxn>
              <a:cxn ang="0">
                <a:pos x="59" y="50"/>
              </a:cxn>
              <a:cxn ang="0">
                <a:pos x="58" y="51"/>
              </a:cxn>
              <a:cxn ang="0">
                <a:pos x="55" y="50"/>
              </a:cxn>
              <a:cxn ang="0">
                <a:pos x="45" y="46"/>
              </a:cxn>
              <a:cxn ang="0">
                <a:pos x="39" y="46"/>
              </a:cxn>
              <a:cxn ang="0">
                <a:pos x="22" y="41"/>
              </a:cxn>
              <a:cxn ang="0">
                <a:pos x="25" y="42"/>
              </a:cxn>
              <a:cxn ang="0">
                <a:pos x="45" y="35"/>
              </a:cxn>
              <a:cxn ang="0">
                <a:pos x="55" y="19"/>
              </a:cxn>
              <a:cxn ang="0">
                <a:pos x="54" y="13"/>
              </a:cxn>
              <a:cxn ang="0">
                <a:pos x="64" y="28"/>
              </a:cxn>
              <a:cxn ang="0">
                <a:pos x="54" y="42"/>
              </a:cxn>
              <a:cxn ang="0">
                <a:pos x="58" y="48"/>
              </a:cxn>
            </a:cxnLst>
            <a:rect l="0" t="0" r="r" b="b"/>
            <a:pathLst>
              <a:path w="64" h="51">
                <a:moveTo>
                  <a:pt x="50" y="19"/>
                </a:moveTo>
                <a:cubicBezTo>
                  <a:pt x="50" y="29"/>
                  <a:pt x="39" y="37"/>
                  <a:pt x="25" y="37"/>
                </a:cubicBezTo>
                <a:cubicBezTo>
                  <a:pt x="23" y="37"/>
                  <a:pt x="21" y="37"/>
                  <a:pt x="19" y="36"/>
                </a:cubicBezTo>
                <a:cubicBezTo>
                  <a:pt x="16" y="39"/>
                  <a:pt x="12" y="40"/>
                  <a:pt x="9" y="41"/>
                </a:cubicBezTo>
                <a:cubicBezTo>
                  <a:pt x="8" y="41"/>
                  <a:pt x="7" y="41"/>
                  <a:pt x="6" y="42"/>
                </a:cubicBezTo>
                <a:cubicBezTo>
                  <a:pt x="6" y="42"/>
                  <a:pt x="6" y="42"/>
                  <a:pt x="6" y="42"/>
                </a:cubicBezTo>
                <a:cubicBezTo>
                  <a:pt x="5" y="42"/>
                  <a:pt x="4" y="41"/>
                  <a:pt x="4" y="41"/>
                </a:cubicBezTo>
                <a:cubicBezTo>
                  <a:pt x="4" y="40"/>
                  <a:pt x="5" y="39"/>
                  <a:pt x="5" y="39"/>
                </a:cubicBezTo>
                <a:cubicBezTo>
                  <a:pt x="6" y="37"/>
                  <a:pt x="8" y="36"/>
                  <a:pt x="9" y="33"/>
                </a:cubicBezTo>
                <a:cubicBezTo>
                  <a:pt x="3" y="30"/>
                  <a:pt x="0" y="25"/>
                  <a:pt x="0" y="19"/>
                </a:cubicBezTo>
                <a:cubicBezTo>
                  <a:pt x="0" y="9"/>
                  <a:pt x="11" y="0"/>
                  <a:pt x="25" y="0"/>
                </a:cubicBezTo>
                <a:cubicBezTo>
                  <a:pt x="39" y="0"/>
                  <a:pt x="50" y="9"/>
                  <a:pt x="50" y="19"/>
                </a:cubicBezTo>
                <a:close/>
                <a:moveTo>
                  <a:pt x="4" y="19"/>
                </a:moveTo>
                <a:cubicBezTo>
                  <a:pt x="4" y="23"/>
                  <a:pt x="7" y="26"/>
                  <a:pt x="12" y="29"/>
                </a:cubicBezTo>
                <a:cubicBezTo>
                  <a:pt x="15" y="31"/>
                  <a:pt x="15" y="31"/>
                  <a:pt x="15" y="31"/>
                </a:cubicBezTo>
                <a:cubicBezTo>
                  <a:pt x="14" y="34"/>
                  <a:pt x="14" y="34"/>
                  <a:pt x="14" y="34"/>
                </a:cubicBezTo>
                <a:cubicBezTo>
                  <a:pt x="15" y="34"/>
                  <a:pt x="15" y="33"/>
                  <a:pt x="16" y="33"/>
                </a:cubicBezTo>
                <a:cubicBezTo>
                  <a:pt x="18" y="32"/>
                  <a:pt x="18" y="32"/>
                  <a:pt x="18" y="32"/>
                </a:cubicBezTo>
                <a:cubicBezTo>
                  <a:pt x="19" y="32"/>
                  <a:pt x="19" y="32"/>
                  <a:pt x="19" y="32"/>
                </a:cubicBezTo>
                <a:cubicBezTo>
                  <a:pt x="21" y="32"/>
                  <a:pt x="23" y="32"/>
                  <a:pt x="25" y="32"/>
                </a:cubicBezTo>
                <a:cubicBezTo>
                  <a:pt x="36" y="32"/>
                  <a:pt x="45" y="26"/>
                  <a:pt x="45" y="19"/>
                </a:cubicBezTo>
                <a:cubicBezTo>
                  <a:pt x="45" y="11"/>
                  <a:pt x="36" y="5"/>
                  <a:pt x="25" y="5"/>
                </a:cubicBezTo>
                <a:cubicBezTo>
                  <a:pt x="14" y="5"/>
                  <a:pt x="4" y="11"/>
                  <a:pt x="4" y="19"/>
                </a:cubicBezTo>
                <a:close/>
                <a:moveTo>
                  <a:pt x="58" y="48"/>
                </a:moveTo>
                <a:cubicBezTo>
                  <a:pt x="59" y="49"/>
                  <a:pt x="59" y="49"/>
                  <a:pt x="59" y="50"/>
                </a:cubicBezTo>
                <a:cubicBezTo>
                  <a:pt x="59" y="50"/>
                  <a:pt x="58" y="51"/>
                  <a:pt x="58" y="51"/>
                </a:cubicBezTo>
                <a:cubicBezTo>
                  <a:pt x="57" y="51"/>
                  <a:pt x="56" y="50"/>
                  <a:pt x="55" y="50"/>
                </a:cubicBezTo>
                <a:cubicBezTo>
                  <a:pt x="51" y="49"/>
                  <a:pt x="48" y="48"/>
                  <a:pt x="45" y="46"/>
                </a:cubicBezTo>
                <a:cubicBezTo>
                  <a:pt x="43" y="46"/>
                  <a:pt x="41" y="46"/>
                  <a:pt x="39" y="46"/>
                </a:cubicBezTo>
                <a:cubicBezTo>
                  <a:pt x="32" y="46"/>
                  <a:pt x="26" y="44"/>
                  <a:pt x="22" y="41"/>
                </a:cubicBezTo>
                <a:cubicBezTo>
                  <a:pt x="23" y="42"/>
                  <a:pt x="24" y="42"/>
                  <a:pt x="25" y="42"/>
                </a:cubicBezTo>
                <a:cubicBezTo>
                  <a:pt x="33" y="42"/>
                  <a:pt x="40" y="39"/>
                  <a:pt x="45" y="35"/>
                </a:cubicBezTo>
                <a:cubicBezTo>
                  <a:pt x="51" y="31"/>
                  <a:pt x="55" y="25"/>
                  <a:pt x="55" y="19"/>
                </a:cubicBezTo>
                <a:cubicBezTo>
                  <a:pt x="55" y="17"/>
                  <a:pt x="54" y="15"/>
                  <a:pt x="54" y="13"/>
                </a:cubicBezTo>
                <a:cubicBezTo>
                  <a:pt x="60" y="17"/>
                  <a:pt x="64" y="22"/>
                  <a:pt x="64" y="28"/>
                </a:cubicBezTo>
                <a:cubicBezTo>
                  <a:pt x="64" y="34"/>
                  <a:pt x="60" y="39"/>
                  <a:pt x="54" y="42"/>
                </a:cubicBezTo>
                <a:cubicBezTo>
                  <a:pt x="55" y="45"/>
                  <a:pt x="57" y="47"/>
                  <a:pt x="58" y="48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262626">
                  <a:lumMod val="50000"/>
                  <a:lumOff val="50000"/>
                </a:srgbClr>
              </a:solidFill>
              <a:effectLst/>
              <a:uLnTx/>
              <a:uFillTx/>
              <a:latin typeface="Roboto Condensed"/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457199" y="5045270"/>
            <a:ext cx="804409" cy="804409"/>
            <a:chOff x="5495925" y="3067050"/>
            <a:chExt cx="838200" cy="838200"/>
          </a:xfrm>
        </p:grpSpPr>
        <p:sp>
          <p:nvSpPr>
            <p:cNvPr id="50" name="Oval 49"/>
            <p:cNvSpPr/>
            <p:nvPr/>
          </p:nvSpPr>
          <p:spPr bwMode="auto">
            <a:xfrm>
              <a:off x="5495925" y="3067050"/>
              <a:ext cx="838200" cy="838200"/>
            </a:xfrm>
            <a:prstGeom prst="ellipse">
              <a:avLst/>
            </a:prstGeom>
            <a:noFill/>
            <a:ln w="28575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  <p:sp>
          <p:nvSpPr>
            <p:cNvPr id="51" name="Oval 50"/>
            <p:cNvSpPr/>
            <p:nvPr/>
          </p:nvSpPr>
          <p:spPr bwMode="auto">
            <a:xfrm>
              <a:off x="5600700" y="3171825"/>
              <a:ext cx="628650" cy="628650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 w="28575">
              <a:noFill/>
              <a:round/>
              <a:headEnd/>
              <a:tailEnd/>
            </a:ln>
          </p:spPr>
          <p:txBody>
            <a:bodyPr vert="horz" wrap="none" lIns="91440" tIns="45720" rIns="91440" bIns="4572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endParaRPr lang="en-US" sz="1200" b="1" dirty="0" smtClean="0">
                <a:solidFill>
                  <a:prstClr val="black">
                    <a:lumMod val="75000"/>
                    <a:lumOff val="25000"/>
                  </a:prstClr>
                </a:solidFill>
              </a:endParaRPr>
            </a:p>
          </p:txBody>
        </p:sp>
      </p:grpSp>
      <p:sp>
        <p:nvSpPr>
          <p:cNvPr id="52" name="Rectangle 51"/>
          <p:cNvSpPr/>
          <p:nvPr/>
        </p:nvSpPr>
        <p:spPr>
          <a:xfrm>
            <a:off x="1319035" y="5633520"/>
            <a:ext cx="7541223" cy="7846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3" name="Content Placeholder 2"/>
          <p:cNvSpPr txBox="1">
            <a:spLocks/>
          </p:cNvSpPr>
          <p:nvPr/>
        </p:nvSpPr>
        <p:spPr>
          <a:xfrm>
            <a:off x="954630" y="5346143"/>
            <a:ext cx="5870955" cy="1219095"/>
          </a:xfrm>
          <a:prstGeom prst="rect">
            <a:avLst/>
          </a:prstGeom>
        </p:spPr>
        <p:txBody>
          <a:bodyPr vert="horz" lIns="0" tIns="45720" rIns="0" bIns="45720" rtlCol="0" anchor="ctr" anchorCtr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0050" lvl="1" indent="0">
              <a:buFont typeface="Arial"/>
              <a:buNone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D</a:t>
            </a:r>
            <a:r>
              <a:rPr lang="en-US" sz="1400" dirty="0" smtClean="0">
                <a:solidFill>
                  <a:prstClr val="black"/>
                </a:solidFill>
                <a:latin typeface="Calibri"/>
              </a:rPr>
              <a:t>etailed milestone schedules, as well as individuals responsible, for all activities.</a:t>
            </a:r>
            <a:endParaRPr lang="en-US" sz="14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1330896" y="5257985"/>
            <a:ext cx="3340681" cy="36933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400">
              <a:spcBef>
                <a:spcPct val="20000"/>
              </a:spcBef>
              <a:defRPr/>
            </a:pPr>
            <a:r>
              <a:rPr lang="en-US" sz="2400" b="1" dirty="0" smtClean="0">
                <a:solidFill>
                  <a:schemeClr val="accent4">
                    <a:lumMod val="75000"/>
                  </a:schemeClr>
                </a:solidFill>
              </a:rPr>
              <a:t>MILESTONE SCHEDULES</a:t>
            </a:r>
            <a:endParaRPr lang="en-US" sz="16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891720" y="5711987"/>
            <a:ext cx="1966976" cy="92333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defTabSz="914400">
              <a:defRPr/>
            </a:pPr>
            <a:r>
              <a:rPr lang="en-US" sz="1200" b="1" dirty="0" smtClean="0">
                <a:solidFill>
                  <a:schemeClr val="accent4">
                    <a:lumMod val="75000"/>
                  </a:schemeClr>
                </a:solidFill>
              </a:rPr>
              <a:t>Co-Lead: Wendy Crisman</a:t>
            </a:r>
          </a:p>
          <a:p>
            <a:pPr algn="r" defTabSz="914400">
              <a:defRPr/>
            </a:pPr>
            <a:r>
              <a:rPr lang="en-US" sz="1200" b="1" spc="-50" dirty="0" smtClean="0">
                <a:solidFill>
                  <a:schemeClr val="accent4">
                    <a:lumMod val="75000"/>
                  </a:schemeClr>
                </a:solidFill>
              </a:rPr>
              <a:t>Co-Lead: Mary Ann Tolodziecki</a:t>
            </a:r>
          </a:p>
          <a:p>
            <a:pPr algn="r" defTabSz="914400">
              <a:defRPr/>
            </a:pPr>
            <a:r>
              <a:rPr lang="en-US" sz="1200" dirty="0" smtClean="0">
                <a:solidFill>
                  <a:schemeClr val="accent4">
                    <a:lumMod val="75000"/>
                  </a:schemeClr>
                </a:solidFill>
              </a:rPr>
              <a:t>Suzanne Sierra</a:t>
            </a:r>
          </a:p>
          <a:p>
            <a:pPr algn="r" defTabSz="914400">
              <a:defRPr/>
            </a:pPr>
            <a:r>
              <a:rPr lang="en-US" sz="1200" dirty="0" err="1" smtClean="0">
                <a:solidFill>
                  <a:schemeClr val="accent4">
                    <a:lumMod val="75000"/>
                  </a:schemeClr>
                </a:solidFill>
              </a:rPr>
              <a:t>Uyen</a:t>
            </a:r>
            <a:r>
              <a:rPr lang="en-US" sz="1200" dirty="0" smtClean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en-US" sz="1200" dirty="0" err="1" smtClean="0">
                <a:solidFill>
                  <a:schemeClr val="accent4">
                    <a:lumMod val="75000"/>
                  </a:schemeClr>
                </a:solidFill>
              </a:rPr>
              <a:t>Tu</a:t>
            </a:r>
            <a:endParaRPr lang="en-US" sz="1200" dirty="0" smtClean="0">
              <a:solidFill>
                <a:schemeClr val="accent4">
                  <a:lumMod val="75000"/>
                </a:schemeClr>
              </a:solidFill>
            </a:endParaRPr>
          </a:p>
          <a:p>
            <a:pPr algn="r" defTabSz="914400">
              <a:defRPr/>
            </a:pPr>
            <a:r>
              <a:rPr lang="en-US" sz="1200" dirty="0" smtClean="0">
                <a:solidFill>
                  <a:schemeClr val="accent4">
                    <a:lumMod val="75000"/>
                  </a:schemeClr>
                </a:solidFill>
              </a:rPr>
              <a:t>Jill Willard</a:t>
            </a:r>
          </a:p>
        </p:txBody>
      </p:sp>
      <p:sp>
        <p:nvSpPr>
          <p:cNvPr id="56" name="Freeform 69"/>
          <p:cNvSpPr>
            <a:spLocks noEditPoints="1"/>
          </p:cNvSpPr>
          <p:nvPr/>
        </p:nvSpPr>
        <p:spPr bwMode="auto">
          <a:xfrm>
            <a:off x="676921" y="5262824"/>
            <a:ext cx="377977" cy="381000"/>
          </a:xfrm>
          <a:custGeom>
            <a:avLst/>
            <a:gdLst/>
            <a:ahLst/>
            <a:cxnLst>
              <a:cxn ang="0">
                <a:pos x="29" y="58"/>
              </a:cxn>
              <a:cxn ang="0">
                <a:pos x="6" y="47"/>
              </a:cxn>
              <a:cxn ang="0">
                <a:pos x="7" y="46"/>
              </a:cxn>
              <a:cxn ang="0">
                <a:pos x="12" y="40"/>
              </a:cxn>
              <a:cxn ang="0">
                <a:pos x="13" y="40"/>
              </a:cxn>
              <a:cxn ang="0">
                <a:pos x="14" y="41"/>
              </a:cxn>
              <a:cxn ang="0">
                <a:pos x="29" y="48"/>
              </a:cxn>
              <a:cxn ang="0">
                <a:pos x="48" y="29"/>
              </a:cxn>
              <a:cxn ang="0">
                <a:pos x="29" y="9"/>
              </a:cxn>
              <a:cxn ang="0">
                <a:pos x="16" y="14"/>
              </a:cxn>
              <a:cxn ang="0">
                <a:pos x="21" y="20"/>
              </a:cxn>
              <a:cxn ang="0">
                <a:pos x="21" y="22"/>
              </a:cxn>
              <a:cxn ang="0">
                <a:pos x="19" y="24"/>
              </a:cxn>
              <a:cxn ang="0">
                <a:pos x="2" y="24"/>
              </a:cxn>
              <a:cxn ang="0">
                <a:pos x="0" y="21"/>
              </a:cxn>
              <a:cxn ang="0">
                <a:pos x="0" y="4"/>
              </a:cxn>
              <a:cxn ang="0">
                <a:pos x="1" y="2"/>
              </a:cxn>
              <a:cxn ang="0">
                <a:pos x="4" y="3"/>
              </a:cxn>
              <a:cxn ang="0">
                <a:pos x="9" y="8"/>
              </a:cxn>
              <a:cxn ang="0">
                <a:pos x="29" y="0"/>
              </a:cxn>
              <a:cxn ang="0">
                <a:pos x="58" y="29"/>
              </a:cxn>
              <a:cxn ang="0">
                <a:pos x="29" y="58"/>
              </a:cxn>
              <a:cxn ang="0">
                <a:pos x="34" y="35"/>
              </a:cxn>
              <a:cxn ang="0">
                <a:pos x="33" y="36"/>
              </a:cxn>
              <a:cxn ang="0">
                <a:pos x="20" y="36"/>
              </a:cxn>
              <a:cxn ang="0">
                <a:pos x="19" y="35"/>
              </a:cxn>
              <a:cxn ang="0">
                <a:pos x="19" y="32"/>
              </a:cxn>
              <a:cxn ang="0">
                <a:pos x="20" y="31"/>
              </a:cxn>
              <a:cxn ang="0">
                <a:pos x="29" y="31"/>
              </a:cxn>
              <a:cxn ang="0">
                <a:pos x="29" y="18"/>
              </a:cxn>
              <a:cxn ang="0">
                <a:pos x="30" y="17"/>
              </a:cxn>
              <a:cxn ang="0">
                <a:pos x="33" y="17"/>
              </a:cxn>
              <a:cxn ang="0">
                <a:pos x="34" y="18"/>
              </a:cxn>
              <a:cxn ang="0">
                <a:pos x="34" y="35"/>
              </a:cxn>
            </a:cxnLst>
            <a:rect l="0" t="0" r="r" b="b"/>
            <a:pathLst>
              <a:path w="58" h="58">
                <a:moveTo>
                  <a:pt x="29" y="58"/>
                </a:moveTo>
                <a:cubicBezTo>
                  <a:pt x="20" y="58"/>
                  <a:pt x="12" y="54"/>
                  <a:pt x="6" y="47"/>
                </a:cubicBezTo>
                <a:cubicBezTo>
                  <a:pt x="6" y="47"/>
                  <a:pt x="6" y="46"/>
                  <a:pt x="7" y="46"/>
                </a:cubicBezTo>
                <a:cubicBezTo>
                  <a:pt x="12" y="40"/>
                  <a:pt x="12" y="40"/>
                  <a:pt x="12" y="40"/>
                </a:cubicBezTo>
                <a:cubicBezTo>
                  <a:pt x="12" y="40"/>
                  <a:pt x="12" y="40"/>
                  <a:pt x="13" y="40"/>
                </a:cubicBezTo>
                <a:cubicBezTo>
                  <a:pt x="13" y="40"/>
                  <a:pt x="13" y="40"/>
                  <a:pt x="14" y="41"/>
                </a:cubicBezTo>
                <a:cubicBezTo>
                  <a:pt x="17" y="45"/>
                  <a:pt x="23" y="48"/>
                  <a:pt x="29" y="48"/>
                </a:cubicBezTo>
                <a:cubicBezTo>
                  <a:pt x="40" y="48"/>
                  <a:pt x="48" y="39"/>
                  <a:pt x="48" y="29"/>
                </a:cubicBezTo>
                <a:cubicBezTo>
                  <a:pt x="48" y="18"/>
                  <a:pt x="40" y="9"/>
                  <a:pt x="29" y="9"/>
                </a:cubicBezTo>
                <a:cubicBezTo>
                  <a:pt x="24" y="9"/>
                  <a:pt x="19" y="11"/>
                  <a:pt x="16" y="14"/>
                </a:cubicBezTo>
                <a:cubicBezTo>
                  <a:pt x="21" y="20"/>
                  <a:pt x="21" y="20"/>
                  <a:pt x="21" y="20"/>
                </a:cubicBezTo>
                <a:cubicBezTo>
                  <a:pt x="22" y="20"/>
                  <a:pt x="22" y="21"/>
                  <a:pt x="21" y="22"/>
                </a:cubicBezTo>
                <a:cubicBezTo>
                  <a:pt x="21" y="23"/>
                  <a:pt x="20" y="24"/>
                  <a:pt x="19" y="24"/>
                </a:cubicBezTo>
                <a:cubicBezTo>
                  <a:pt x="2" y="24"/>
                  <a:pt x="2" y="24"/>
                  <a:pt x="2" y="24"/>
                </a:cubicBezTo>
                <a:cubicBezTo>
                  <a:pt x="1" y="24"/>
                  <a:pt x="0" y="23"/>
                  <a:pt x="0" y="21"/>
                </a:cubicBezTo>
                <a:cubicBezTo>
                  <a:pt x="0" y="4"/>
                  <a:pt x="0" y="4"/>
                  <a:pt x="0" y="4"/>
                </a:cubicBezTo>
                <a:cubicBezTo>
                  <a:pt x="0" y="3"/>
                  <a:pt x="0" y="3"/>
                  <a:pt x="1" y="2"/>
                </a:cubicBezTo>
                <a:cubicBezTo>
                  <a:pt x="2" y="2"/>
                  <a:pt x="3" y="2"/>
                  <a:pt x="4" y="3"/>
                </a:cubicBezTo>
                <a:cubicBezTo>
                  <a:pt x="9" y="8"/>
                  <a:pt x="9" y="8"/>
                  <a:pt x="9" y="8"/>
                </a:cubicBezTo>
                <a:cubicBezTo>
                  <a:pt x="14" y="3"/>
                  <a:pt x="21" y="0"/>
                  <a:pt x="29" y="0"/>
                </a:cubicBezTo>
                <a:cubicBezTo>
                  <a:pt x="45" y="0"/>
                  <a:pt x="58" y="13"/>
                  <a:pt x="58" y="29"/>
                </a:cubicBezTo>
                <a:cubicBezTo>
                  <a:pt x="58" y="45"/>
                  <a:pt x="45" y="58"/>
                  <a:pt x="29" y="58"/>
                </a:cubicBezTo>
                <a:close/>
                <a:moveTo>
                  <a:pt x="34" y="35"/>
                </a:moveTo>
                <a:cubicBezTo>
                  <a:pt x="34" y="35"/>
                  <a:pt x="33" y="36"/>
                  <a:pt x="33" y="36"/>
                </a:cubicBezTo>
                <a:cubicBezTo>
                  <a:pt x="20" y="36"/>
                  <a:pt x="20" y="36"/>
                  <a:pt x="20" y="36"/>
                </a:cubicBezTo>
                <a:cubicBezTo>
                  <a:pt x="20" y="36"/>
                  <a:pt x="19" y="35"/>
                  <a:pt x="19" y="35"/>
                </a:cubicBezTo>
                <a:cubicBezTo>
                  <a:pt x="19" y="32"/>
                  <a:pt x="19" y="32"/>
                  <a:pt x="19" y="32"/>
                </a:cubicBezTo>
                <a:cubicBezTo>
                  <a:pt x="19" y="32"/>
                  <a:pt x="20" y="31"/>
                  <a:pt x="20" y="31"/>
                </a:cubicBezTo>
                <a:cubicBezTo>
                  <a:pt x="29" y="31"/>
                  <a:pt x="29" y="31"/>
                  <a:pt x="29" y="31"/>
                </a:cubicBezTo>
                <a:cubicBezTo>
                  <a:pt x="29" y="18"/>
                  <a:pt x="29" y="18"/>
                  <a:pt x="29" y="18"/>
                </a:cubicBezTo>
                <a:cubicBezTo>
                  <a:pt x="29" y="17"/>
                  <a:pt x="29" y="17"/>
                  <a:pt x="30" y="17"/>
                </a:cubicBezTo>
                <a:cubicBezTo>
                  <a:pt x="33" y="17"/>
                  <a:pt x="33" y="17"/>
                  <a:pt x="33" y="17"/>
                </a:cubicBezTo>
                <a:cubicBezTo>
                  <a:pt x="33" y="17"/>
                  <a:pt x="34" y="17"/>
                  <a:pt x="34" y="18"/>
                </a:cubicBezTo>
                <a:lnTo>
                  <a:pt x="34" y="35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Roboto Condensed"/>
            </a:endParaRPr>
          </a:p>
        </p:txBody>
      </p:sp>
    </p:spTree>
    <p:extLst>
      <p:ext uri="{BB962C8B-B14F-4D97-AF65-F5344CB8AC3E}">
        <p14:creationId xmlns:p14="http://schemas.microsoft.com/office/powerpoint/2010/main" val="3589837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3" grpId="0" build="p"/>
      <p:bldP spid="10" grpId="0"/>
      <p:bldP spid="20" grpId="0"/>
      <p:bldP spid="37" grpId="0" animBg="1"/>
      <p:bldP spid="38" grpId="0"/>
      <p:bldP spid="39" grpId="0"/>
      <p:bldP spid="40" grpId="0"/>
      <p:bldP spid="41" grpId="0" animBg="1"/>
      <p:bldP spid="46" grpId="0"/>
      <p:bldP spid="47" grpId="0"/>
      <p:bldP spid="52" grpId="0" animBg="1"/>
      <p:bldP spid="54" grpId="0"/>
      <p:bldP spid="5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0"/>
            <a:ext cx="7886700" cy="2817341"/>
          </a:xfrm>
        </p:spPr>
        <p:txBody>
          <a:bodyPr/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</a:rPr>
              <a:t>Introduction to Project Management for Acquisitions</a:t>
            </a:r>
            <a:endParaRPr lang="en-US" sz="3600" dirty="0"/>
          </a:p>
        </p:txBody>
      </p:sp>
      <p:pic>
        <p:nvPicPr>
          <p:cNvPr id="6" name="Picture 5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3325" y="3203363"/>
            <a:ext cx="1657350" cy="96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677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552091" y="1120676"/>
            <a:ext cx="8082951" cy="6038576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171450" indent="-171450" algn="just">
              <a:lnSpc>
                <a:spcPct val="140000"/>
              </a:lnSpc>
              <a:buFont typeface="Wingdings" panose="05000000000000000000" pitchFamily="2" charset="2"/>
              <a:buChar char="Ø"/>
            </a:pPr>
            <a:r>
              <a:rPr lang="en-US" sz="1200" dirty="0" smtClean="0"/>
              <a:t>The Project </a:t>
            </a:r>
            <a:r>
              <a:rPr lang="en-US" sz="1200" dirty="0"/>
              <a:t>Management for Acquisitions </a:t>
            </a:r>
            <a:r>
              <a:rPr lang="en-US" sz="1200" dirty="0" smtClean="0"/>
              <a:t>Schedule Templates provide </a:t>
            </a:r>
            <a:r>
              <a:rPr lang="en-US" sz="1200" dirty="0"/>
              <a:t>a </a:t>
            </a:r>
            <a:r>
              <a:rPr lang="en-US" sz="1200" dirty="0" smtClean="0"/>
              <a:t>detailed acquisition </a:t>
            </a:r>
            <a:r>
              <a:rPr lang="en-US" sz="1200" dirty="0"/>
              <a:t>schedule that is </a:t>
            </a:r>
            <a:r>
              <a:rPr lang="en-US" sz="1200" dirty="0" smtClean="0"/>
              <a:t>designed </a:t>
            </a:r>
            <a:r>
              <a:rPr lang="en-US" sz="1200" dirty="0"/>
              <a:t>to facilitate the acquisition </a:t>
            </a:r>
            <a:r>
              <a:rPr lang="en-US" sz="1200" dirty="0" smtClean="0"/>
              <a:t>process</a:t>
            </a:r>
          </a:p>
          <a:p>
            <a:pPr marL="628650" lvl="1" indent="-171450" algn="just">
              <a:lnSpc>
                <a:spcPct val="140000"/>
              </a:lnSpc>
              <a:buFont typeface="Wingdings" panose="05000000000000000000" pitchFamily="2" charset="2"/>
              <a:buChar char="Ø"/>
            </a:pPr>
            <a:r>
              <a:rPr lang="en-US" sz="1200" dirty="0"/>
              <a:t>The schedule should be created early in the planning stages and should have </a:t>
            </a:r>
            <a:r>
              <a:rPr lang="en-US" sz="1200" dirty="0" smtClean="0"/>
              <a:t>team buy-in</a:t>
            </a:r>
            <a:endParaRPr lang="en-US" sz="1200" dirty="0" smtClean="0">
              <a:solidFill>
                <a:srgbClr val="40404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lnSpc>
                <a:spcPct val="140000"/>
              </a:lnSpc>
              <a:buFont typeface="Wingdings" panose="05000000000000000000" pitchFamily="2" charset="2"/>
              <a:buChar char="Ø"/>
            </a:pPr>
            <a:r>
              <a:rPr lang="en-US" sz="1200" dirty="0" smtClean="0"/>
              <a:t>Three </a:t>
            </a:r>
            <a:r>
              <a:rPr lang="en-US" sz="1200" dirty="0"/>
              <a:t>versions of the acquisition Schedule Template have been developed to accommodate the acquisition complexity, various technical skill levels of each user, as well as the software available to the </a:t>
            </a:r>
            <a:r>
              <a:rPr lang="en-US" sz="1200" dirty="0" smtClean="0"/>
              <a:t>acquisition team</a:t>
            </a:r>
          </a:p>
          <a:p>
            <a:pPr marL="628650" lvl="1" indent="-171450" algn="just">
              <a:lnSpc>
                <a:spcPct val="140000"/>
              </a:lnSpc>
              <a:buFont typeface="Wingdings" panose="05000000000000000000" pitchFamily="2" charset="2"/>
              <a:buChar char="Ø"/>
            </a:pPr>
            <a:r>
              <a:rPr lang="en-US" sz="1200" dirty="0" smtClean="0"/>
              <a:t>Each template contains the same identified tasks, recommended lead-times, and columns for identifying the Responsible Party per task, as well as identified predecessor tasks</a:t>
            </a:r>
          </a:p>
          <a:p>
            <a:pPr marL="628650" lvl="1" indent="-171450" algn="just">
              <a:lnSpc>
                <a:spcPct val="140000"/>
              </a:lnSpc>
              <a:buFont typeface="Wingdings" panose="05000000000000000000" pitchFamily="2" charset="2"/>
              <a:buChar char="Ø"/>
            </a:pPr>
            <a:r>
              <a:rPr lang="en-US" sz="1200" dirty="0" smtClean="0"/>
              <a:t>Each template is modifiable and allows the team to identify applicable tasks for their acquisition</a:t>
            </a:r>
            <a:endParaRPr lang="en-US" sz="1200" dirty="0" smtClean="0">
              <a:solidFill>
                <a:srgbClr val="40404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628650" lvl="1" indent="-171450" algn="just">
              <a:lnSpc>
                <a:spcPct val="140000"/>
              </a:lnSpc>
              <a:buFont typeface="Wingdings" panose="05000000000000000000" pitchFamily="2" charset="2"/>
              <a:buChar char="Ø"/>
            </a:pPr>
            <a:r>
              <a:rPr lang="en-US" sz="1200" dirty="0" smtClean="0"/>
              <a:t>Responsible parties should be assigned to each applicable milestone</a:t>
            </a:r>
          </a:p>
          <a:p>
            <a:pPr lvl="1" algn="just">
              <a:lnSpc>
                <a:spcPct val="140000"/>
              </a:lnSpc>
            </a:pPr>
            <a:endParaRPr lang="en-US" sz="1200" dirty="0" smtClean="0"/>
          </a:p>
          <a:p>
            <a:pPr marL="628650" lvl="1" indent="-171450" algn="just">
              <a:lnSpc>
                <a:spcPct val="140000"/>
              </a:lnSpc>
              <a:buFont typeface="Wingdings" panose="05000000000000000000" pitchFamily="2" charset="2"/>
              <a:buChar char="Ø"/>
            </a:pPr>
            <a:endParaRPr lang="en-US" sz="1200" dirty="0" smtClean="0"/>
          </a:p>
          <a:p>
            <a:pPr marL="628650" lvl="1" indent="-171450" algn="just">
              <a:lnSpc>
                <a:spcPct val="140000"/>
              </a:lnSpc>
              <a:buFont typeface="Wingdings" panose="05000000000000000000" pitchFamily="2" charset="2"/>
              <a:buChar char="Ø"/>
            </a:pPr>
            <a:endParaRPr lang="en-US" sz="1200" dirty="0"/>
          </a:p>
          <a:p>
            <a:pPr marL="628650" lvl="1" indent="-171450" algn="just">
              <a:lnSpc>
                <a:spcPct val="140000"/>
              </a:lnSpc>
              <a:buFont typeface="Wingdings" panose="05000000000000000000" pitchFamily="2" charset="2"/>
              <a:buChar char="Ø"/>
            </a:pPr>
            <a:endParaRPr lang="en-US" sz="1200" dirty="0" smtClean="0"/>
          </a:p>
          <a:p>
            <a:pPr lvl="1" algn="just">
              <a:lnSpc>
                <a:spcPct val="140000"/>
              </a:lnSpc>
            </a:pPr>
            <a:endParaRPr lang="en-US" sz="1200" dirty="0" smtClean="0"/>
          </a:p>
          <a:p>
            <a:pPr algn="just">
              <a:lnSpc>
                <a:spcPct val="140000"/>
              </a:lnSpc>
            </a:pPr>
            <a:endParaRPr lang="en-US" sz="1200" dirty="0" smtClean="0"/>
          </a:p>
          <a:p>
            <a:pPr algn="just">
              <a:lnSpc>
                <a:spcPct val="140000"/>
              </a:lnSpc>
            </a:pPr>
            <a:endParaRPr lang="en-US" sz="1200" dirty="0"/>
          </a:p>
          <a:p>
            <a:pPr algn="just">
              <a:lnSpc>
                <a:spcPct val="140000"/>
              </a:lnSpc>
            </a:pPr>
            <a:endParaRPr lang="en-US" sz="1200" dirty="0"/>
          </a:p>
          <a:p>
            <a:pPr marL="171450" indent="-171450" algn="just">
              <a:lnSpc>
                <a:spcPct val="140000"/>
              </a:lnSpc>
              <a:buFont typeface="Wingdings" panose="05000000000000000000" pitchFamily="2" charset="2"/>
              <a:buChar char="Ø"/>
            </a:pPr>
            <a:r>
              <a:rPr lang="en-US" sz="1200" dirty="0" smtClean="0"/>
              <a:t>The </a:t>
            </a:r>
            <a:r>
              <a:rPr lang="en-US" sz="1200" dirty="0"/>
              <a:t>schedule should be reviewed on a regular </a:t>
            </a:r>
            <a:r>
              <a:rPr lang="en-US" sz="1200" dirty="0" smtClean="0"/>
              <a:t>basis with the team members throughout the acquisition process to </a:t>
            </a:r>
            <a:r>
              <a:rPr lang="en-US" sz="1200" dirty="0"/>
              <a:t>track task progress and completion, troubleshoot issues, and to predict any potential issues that may arise</a:t>
            </a:r>
            <a:endParaRPr lang="en-US" sz="1200" dirty="0" smtClean="0"/>
          </a:p>
          <a:p>
            <a:pPr marL="628650" lvl="1" indent="-171450" algn="just">
              <a:lnSpc>
                <a:spcPct val="140000"/>
              </a:lnSpc>
              <a:buFont typeface="Wingdings" panose="05000000000000000000" pitchFamily="2" charset="2"/>
              <a:buChar char="Ø"/>
            </a:pPr>
            <a:r>
              <a:rPr lang="en-US" sz="1200" dirty="0"/>
              <a:t>Regular reporting on the status of the acquisition to Center Management is essential to ensure potential issues are resolved in a timely </a:t>
            </a:r>
            <a:r>
              <a:rPr lang="en-US" sz="1200" dirty="0" smtClean="0"/>
              <a:t>manner</a:t>
            </a:r>
          </a:p>
          <a:p>
            <a:pPr algn="just">
              <a:lnSpc>
                <a:spcPct val="140000"/>
              </a:lnSpc>
            </a:pPr>
            <a:endParaRPr lang="en-US" sz="1200" dirty="0" smtClean="0"/>
          </a:p>
          <a:p>
            <a:pPr marL="171450" indent="-171450" algn="just">
              <a:lnSpc>
                <a:spcPct val="140000"/>
              </a:lnSpc>
              <a:buFont typeface="Wingdings" panose="05000000000000000000" pitchFamily="2" charset="2"/>
              <a:buChar char="Ø"/>
            </a:pPr>
            <a:endParaRPr lang="en-US" sz="1200" dirty="0"/>
          </a:p>
        </p:txBody>
      </p:sp>
      <p:sp>
        <p:nvSpPr>
          <p:cNvPr id="3" name="Rectangle 2"/>
          <p:cNvSpPr/>
          <p:nvPr/>
        </p:nvSpPr>
        <p:spPr>
          <a:xfrm>
            <a:off x="465827" y="105013"/>
            <a:ext cx="841938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+mj-cs"/>
              </a:rPr>
              <a:t>The Schedule </a:t>
            </a:r>
          </a:p>
          <a:p>
            <a:pPr algn="ctr"/>
            <a:r>
              <a:rPr lang="en-US" sz="32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+mj-cs"/>
              </a:rPr>
              <a:t> </a:t>
            </a:r>
            <a:r>
              <a:rPr lang="en-US" sz="24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  <a:ea typeface="+mj-ea"/>
                <a:cs typeface="+mj-cs"/>
              </a:rPr>
              <a:t>A </a:t>
            </a:r>
            <a:r>
              <a:rPr lang="en-US" sz="24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</a:rPr>
              <a:t>Project </a:t>
            </a:r>
            <a:r>
              <a:rPr lang="en-US" sz="2400" b="1" dirty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</a:rPr>
              <a:t>Management </a:t>
            </a:r>
            <a:r>
              <a:rPr lang="en-US" sz="2400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</a:rPr>
              <a:t>for Acquisitions Tool </a:t>
            </a:r>
            <a:endParaRPr lang="en-US" sz="2800" b="1" dirty="0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  <a:ea typeface="+mj-ea"/>
              <a:cs typeface="+mj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061" y="3740428"/>
            <a:ext cx="8306981" cy="1356109"/>
          </a:xfrm>
          <a:prstGeom prst="rect">
            <a:avLst/>
          </a:prstGeom>
          <a:solidFill>
            <a:schemeClr val="bg1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sp>
        <p:nvSpPr>
          <p:cNvPr id="4" name="Rounded Rectangle 3"/>
          <p:cNvSpPr/>
          <p:nvPr/>
        </p:nvSpPr>
        <p:spPr>
          <a:xfrm>
            <a:off x="6814868" y="3731240"/>
            <a:ext cx="992038" cy="1365297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5454052" y="1376896"/>
            <a:ext cx="521897" cy="343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562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387" y="729310"/>
            <a:ext cx="6717820" cy="174229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9933" y="2480253"/>
            <a:ext cx="6645273" cy="1926263"/>
          </a:xfrm>
          <a:prstGeom prst="rect">
            <a:avLst/>
          </a:prstGeom>
          <a:effectLst>
            <a:innerShdw blurRad="63500" dist="50800" dir="16200000">
              <a:prstClr val="black">
                <a:alpha val="50000"/>
              </a:prstClr>
            </a:inn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8907" y="4496346"/>
            <a:ext cx="5382882" cy="2223364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  <p:sp>
        <p:nvSpPr>
          <p:cNvPr id="7" name="TextBox 6"/>
          <p:cNvSpPr txBox="1"/>
          <p:nvPr/>
        </p:nvSpPr>
        <p:spPr>
          <a:xfrm>
            <a:off x="6108165" y="1281219"/>
            <a:ext cx="2440611" cy="830997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/>
              <a:t>Basic Excel Template with identified milestones and recommended lead-times, but no calculations </a:t>
            </a:r>
            <a:endParaRPr lang="en-US" sz="1200" dirty="0" smtClean="0"/>
          </a:p>
          <a:p>
            <a:endParaRPr lang="en-US" sz="1200" dirty="0"/>
          </a:p>
        </p:txBody>
      </p:sp>
      <p:sp>
        <p:nvSpPr>
          <p:cNvPr id="8" name="TextBox 7"/>
          <p:cNvSpPr txBox="1"/>
          <p:nvPr/>
        </p:nvSpPr>
        <p:spPr>
          <a:xfrm>
            <a:off x="6233913" y="3115149"/>
            <a:ext cx="2715992" cy="92333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Advanced Excel Schedule contains a </a:t>
            </a:r>
            <a:r>
              <a:rPr lang="en-US" sz="1200" dirty="0"/>
              <a:t>prepopulated schedule and calculations based on recommended lead-times</a:t>
            </a:r>
          </a:p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047781" y="5153847"/>
            <a:ext cx="3088257" cy="92333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lvl="1"/>
            <a:r>
              <a:rPr lang="en-US" sz="1200" dirty="0" smtClean="0"/>
              <a:t>MS Project  Schedule Template </a:t>
            </a:r>
            <a:r>
              <a:rPr lang="en-US" sz="1200" dirty="0">
                <a:solidFill>
                  <a:srgbClr val="404040"/>
                </a:solidFill>
                <a:latin typeface="Calibri" panose="020F0502020204030204" pitchFamily="34" charset="0"/>
                <a:ea typeface="Arial" panose="020B0604020202020204" pitchFamily="34" charset="0"/>
                <a:cs typeface="Times New Roman" panose="02020603050405020304" pitchFamily="18" charset="0"/>
              </a:rPr>
              <a:t>allows the team to use additional MS Project functionalities (critical chain, base-lining)</a:t>
            </a:r>
            <a:endParaRPr lang="en-US" sz="1200" dirty="0">
              <a:solidFill>
                <a:srgbClr val="404040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3488582" y="145335"/>
            <a:ext cx="20348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 smtClean="0">
                <a:solidFill>
                  <a:schemeClr val="accent5">
                    <a:lumMod val="50000"/>
                  </a:schemeClr>
                </a:solidFill>
                <a:latin typeface="Calibri Light" panose="020F0302020204030204" pitchFamily="34" charset="0"/>
              </a:rPr>
              <a:t>Schedule Templates </a:t>
            </a:r>
            <a:endParaRPr lang="en-US" b="1" dirty="0">
              <a:solidFill>
                <a:schemeClr val="accent5">
                  <a:lumMod val="50000"/>
                </a:schemeClr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762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B39c7A40qA.j9BNP6J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EM.zP2wki5E1QUcSgF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n1LlA8IUqZtlqMleWBu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irm Format - English (US)">
  <a:themeElements>
    <a:clrScheme name="Firm Format - English (US) 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B2D2EF"/>
      </a:accent1>
      <a:accent2>
        <a:srgbClr val="E32E3D"/>
      </a:accent2>
      <a:accent3>
        <a:srgbClr val="FFFFFF"/>
      </a:accent3>
      <a:accent4>
        <a:srgbClr val="000000"/>
      </a:accent4>
      <a:accent5>
        <a:srgbClr val="D5E5F6"/>
      </a:accent5>
      <a:accent6>
        <a:srgbClr val="CE2936"/>
      </a:accent6>
      <a:hlink>
        <a:srgbClr val="205AA7"/>
      </a:hlink>
      <a:folHlink>
        <a:srgbClr val="002960"/>
      </a:folHlink>
    </a:clrScheme>
    <a:fontScheme name="Firm Format - English (US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irm Format - English (US)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E32E3D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CE2936"/>
        </a:accent6>
        <a:hlink>
          <a:srgbClr val="205AA7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English (US)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B2D2EF"/>
        </a:accent1>
        <a:accent2>
          <a:srgbClr val="E32E3D"/>
        </a:accent2>
        <a:accent3>
          <a:srgbClr val="FFFFFF"/>
        </a:accent3>
        <a:accent4>
          <a:srgbClr val="000000"/>
        </a:accent4>
        <a:accent5>
          <a:srgbClr val="D5E5F6"/>
        </a:accent5>
        <a:accent6>
          <a:srgbClr val="CE2936"/>
        </a:accent6>
        <a:hlink>
          <a:srgbClr val="205AA7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668</Words>
  <Application>Microsoft Office PowerPoint</Application>
  <PresentationFormat>On-screen Show (4:3)</PresentationFormat>
  <Paragraphs>126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ＭＳ Ｐゴシック</vt:lpstr>
      <vt:lpstr>Arial</vt:lpstr>
      <vt:lpstr>Calibri</vt:lpstr>
      <vt:lpstr>Calibri Light</vt:lpstr>
      <vt:lpstr>Roboto Condensed</vt:lpstr>
      <vt:lpstr>Times New Roman</vt:lpstr>
      <vt:lpstr>Wingdings</vt:lpstr>
      <vt:lpstr>Office Theme</vt:lpstr>
      <vt:lpstr>Firm Format - English (US)</vt:lpstr>
      <vt:lpstr>think-cell Slide</vt:lpstr>
      <vt:lpstr>Procurement  Business Services Assessment (BSA)  Decision 7  Project Management for Acquisitions</vt:lpstr>
      <vt:lpstr>Project Management for Acquisitions</vt:lpstr>
      <vt:lpstr>PowerPoint Presentation</vt:lpstr>
      <vt:lpstr>Project Management  “The discipline of initiating, planning, executing, controlling and closing the work of a team to achieve specific goals and meet specific success criteria.”   for Acquisitions</vt:lpstr>
      <vt:lpstr>Project Management for Acquisitions: Tools </vt:lpstr>
      <vt:lpstr>Decision 7 Sub-Teams</vt:lpstr>
      <vt:lpstr>Introduction to Project Management for Acquisitions</vt:lpstr>
      <vt:lpstr>PowerPoint Presentation</vt:lpstr>
      <vt:lpstr>PowerPoint Presentation</vt:lpstr>
      <vt:lpstr>Implementation / Change Management</vt:lpstr>
      <vt:lpstr>Success Metrics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3-31T20:04:45Z</dcterms:created>
  <dcterms:modified xsi:type="dcterms:W3CDTF">2017-05-25T02:41:48Z</dcterms:modified>
</cp:coreProperties>
</file>